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8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58" r:id="rId2"/>
    <p:sldId id="287" r:id="rId3"/>
    <p:sldId id="303" r:id="rId4"/>
    <p:sldId id="304" r:id="rId5"/>
    <p:sldId id="305" r:id="rId6"/>
    <p:sldId id="306" r:id="rId7"/>
    <p:sldId id="307" r:id="rId8"/>
    <p:sldId id="308" r:id="rId9"/>
    <p:sldId id="310" r:id="rId10"/>
    <p:sldId id="311" r:id="rId11"/>
    <p:sldId id="312" r:id="rId12"/>
    <p:sldId id="315" r:id="rId13"/>
    <p:sldId id="316" r:id="rId14"/>
    <p:sldId id="318" r:id="rId15"/>
    <p:sldId id="301" r:id="rId16"/>
    <p:sldId id="302" r:id="rId17"/>
    <p:sldId id="299" r:id="rId18"/>
    <p:sldId id="300" r:id="rId19"/>
    <p:sldId id="313" r:id="rId20"/>
    <p:sldId id="314" r:id="rId21"/>
    <p:sldId id="320" r:id="rId22"/>
    <p:sldId id="319" r:id="rId23"/>
  </p:sldIdLst>
  <p:sldSz cx="9144000" cy="6858000" type="screen4x3"/>
  <p:notesSz cx="70104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55" autoAdjust="0"/>
    <p:restoredTop sz="93103"/>
  </p:normalViewPr>
  <p:slideViewPr>
    <p:cSldViewPr>
      <p:cViewPr varScale="1">
        <p:scale>
          <a:sx n="69" d="100"/>
          <a:sy n="69" d="100"/>
        </p:scale>
        <p:origin x="1494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#7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79E04DB-83D1-436C-82D1-CEC8619450D2}" type="doc">
      <dgm:prSet loTypeId="urn:microsoft.com/office/officeart/2005/8/layout/radial4" loCatId="relationship" qsTypeId="urn:microsoft.com/office/officeart/2005/8/quickstyle/simple2" qsCatId="simple" csTypeId="urn:microsoft.com/office/officeart/2005/8/colors/accent5_1" csCatId="accent5" phldr="1"/>
      <dgm:spPr/>
      <dgm:t>
        <a:bodyPr/>
        <a:lstStyle/>
        <a:p>
          <a:endParaRPr lang="id-ID"/>
        </a:p>
      </dgm:t>
    </dgm:pt>
    <dgm:pt modelId="{E72E2074-F5E8-43F0-9AF1-51767B25FF12}">
      <dgm:prSet/>
      <dgm:spPr/>
      <dgm:t>
        <a:bodyPr/>
        <a:lstStyle/>
        <a:p>
          <a:pPr rtl="0"/>
          <a:r>
            <a:rPr lang="id-ID" b="1" dirty="0">
              <a:solidFill>
                <a:srgbClr val="0070C0"/>
              </a:solidFill>
              <a:effectLst/>
              <a:latin typeface="+mj-lt"/>
            </a:rPr>
            <a:t>SECURE</a:t>
          </a:r>
          <a:r>
            <a:rPr lang="id-ID" b="1" dirty="0">
              <a:effectLst/>
              <a:latin typeface="+mj-lt"/>
            </a:rPr>
            <a:t> AND SAFE SUPPLY CHAIN</a:t>
          </a:r>
        </a:p>
      </dgm:t>
    </dgm:pt>
    <dgm:pt modelId="{CE683A1B-26B2-4033-B0D3-781C3B4D59EA}" type="parTrans" cxnId="{BF7C8D35-B3A3-4957-A1A9-01E7766F3EED}">
      <dgm:prSet/>
      <dgm:spPr/>
      <dgm:t>
        <a:bodyPr/>
        <a:lstStyle/>
        <a:p>
          <a:endParaRPr lang="id-ID">
            <a:solidFill>
              <a:schemeClr val="tx1"/>
            </a:solidFill>
            <a:latin typeface="+mj-lt"/>
          </a:endParaRPr>
        </a:p>
      </dgm:t>
    </dgm:pt>
    <dgm:pt modelId="{9D9777F2-6F59-4CC1-BE8F-644154A5589A}" type="sibTrans" cxnId="{BF7C8D35-B3A3-4957-A1A9-01E7766F3EED}">
      <dgm:prSet/>
      <dgm:spPr/>
      <dgm:t>
        <a:bodyPr/>
        <a:lstStyle/>
        <a:p>
          <a:endParaRPr lang="id-ID">
            <a:solidFill>
              <a:schemeClr val="tx1"/>
            </a:solidFill>
            <a:latin typeface="+mj-lt"/>
          </a:endParaRPr>
        </a:p>
      </dgm:t>
    </dgm:pt>
    <dgm:pt modelId="{FD6EC6CE-A5BD-4745-A64F-E0B14086A306}">
      <dgm:prSet/>
      <dgm:spPr/>
      <dgm:t>
        <a:bodyPr/>
        <a:lstStyle/>
        <a:p>
          <a:endParaRPr lang="id-ID" dirty="0">
            <a:latin typeface="+mj-lt"/>
          </a:endParaRPr>
        </a:p>
      </dgm:t>
    </dgm:pt>
    <dgm:pt modelId="{69C0A263-7966-489F-B3A6-C2C0121E52E9}" type="parTrans" cxnId="{4E6C5127-B065-4BC9-B382-CCA7076CA1DE}">
      <dgm:prSet/>
      <dgm:spPr/>
      <dgm:t>
        <a:bodyPr/>
        <a:lstStyle/>
        <a:p>
          <a:endParaRPr lang="id-ID">
            <a:solidFill>
              <a:schemeClr val="tx1"/>
            </a:solidFill>
            <a:latin typeface="+mj-lt"/>
          </a:endParaRPr>
        </a:p>
      </dgm:t>
    </dgm:pt>
    <dgm:pt modelId="{CD2AE70D-E9E6-43A3-88E5-ABF8BDE7C7AE}" type="sibTrans" cxnId="{4E6C5127-B065-4BC9-B382-CCA7076CA1DE}">
      <dgm:prSet/>
      <dgm:spPr/>
      <dgm:t>
        <a:bodyPr/>
        <a:lstStyle/>
        <a:p>
          <a:endParaRPr lang="id-ID">
            <a:solidFill>
              <a:schemeClr val="tx1"/>
            </a:solidFill>
            <a:latin typeface="+mj-lt"/>
          </a:endParaRPr>
        </a:p>
      </dgm:t>
    </dgm:pt>
    <dgm:pt modelId="{9D759447-45A0-4D32-A1DE-8C3103446F31}">
      <dgm:prSet/>
      <dgm:spPr/>
      <dgm:t>
        <a:bodyPr/>
        <a:lstStyle/>
        <a:p>
          <a:pPr rtl="0"/>
          <a:r>
            <a:rPr lang="id-ID" b="1" dirty="0">
              <a:solidFill>
                <a:srgbClr val="0070C0"/>
              </a:solidFill>
              <a:effectLst/>
              <a:latin typeface="+mj-lt"/>
            </a:rPr>
            <a:t>PARTISIPASI</a:t>
          </a:r>
          <a:r>
            <a:rPr lang="id-ID" b="1" dirty="0">
              <a:effectLst/>
              <a:latin typeface="+mj-lt"/>
            </a:rPr>
            <a:t> AKTIF AEO DLM PENGAMANAN RANTAI PERDAGANGAN</a:t>
          </a:r>
        </a:p>
      </dgm:t>
    </dgm:pt>
    <dgm:pt modelId="{223FCD82-338E-44B2-9493-B306948C49AC}" type="parTrans" cxnId="{4479137D-36B7-4D05-A589-A09E3B25D945}">
      <dgm:prSet/>
      <dgm:spPr/>
      <dgm:t>
        <a:bodyPr/>
        <a:lstStyle/>
        <a:p>
          <a:endParaRPr lang="id-ID">
            <a:solidFill>
              <a:schemeClr val="tx1"/>
            </a:solidFill>
            <a:latin typeface="+mj-lt"/>
          </a:endParaRPr>
        </a:p>
      </dgm:t>
    </dgm:pt>
    <dgm:pt modelId="{A866787B-014B-41CB-8A17-A2B5BEF8E229}" type="sibTrans" cxnId="{4479137D-36B7-4D05-A589-A09E3B25D945}">
      <dgm:prSet/>
      <dgm:spPr/>
      <dgm:t>
        <a:bodyPr/>
        <a:lstStyle/>
        <a:p>
          <a:endParaRPr lang="id-ID">
            <a:solidFill>
              <a:schemeClr val="tx1"/>
            </a:solidFill>
            <a:latin typeface="+mj-lt"/>
          </a:endParaRPr>
        </a:p>
      </dgm:t>
    </dgm:pt>
    <dgm:pt modelId="{1E9C9094-0A87-418A-BA03-00C45C13118F}">
      <dgm:prSet/>
      <dgm:spPr/>
      <dgm:t>
        <a:bodyPr/>
        <a:lstStyle/>
        <a:p>
          <a:pPr rtl="0"/>
          <a:r>
            <a:rPr lang="id-ID" b="1" dirty="0">
              <a:latin typeface="+mj-lt"/>
            </a:rPr>
            <a:t>PRAKTEK BUSINESS YANG </a:t>
          </a:r>
          <a:r>
            <a:rPr lang="id-ID" b="1" dirty="0">
              <a:solidFill>
                <a:srgbClr val="0070C0"/>
              </a:solidFill>
              <a:latin typeface="+mj-lt"/>
            </a:rPr>
            <a:t>EFISIEN</a:t>
          </a:r>
        </a:p>
      </dgm:t>
    </dgm:pt>
    <dgm:pt modelId="{0A7AC6DE-54F8-4737-AD3D-8713F93AF6C3}" type="parTrans" cxnId="{763E5BDB-E6F5-43B2-8DED-F71533F7B3E6}">
      <dgm:prSet/>
      <dgm:spPr/>
      <dgm:t>
        <a:bodyPr/>
        <a:lstStyle/>
        <a:p>
          <a:endParaRPr lang="id-ID">
            <a:solidFill>
              <a:schemeClr val="tx1"/>
            </a:solidFill>
            <a:latin typeface="+mj-lt"/>
          </a:endParaRPr>
        </a:p>
      </dgm:t>
    </dgm:pt>
    <dgm:pt modelId="{9F9A76B5-5420-4504-BD21-0DAABE94C895}" type="sibTrans" cxnId="{763E5BDB-E6F5-43B2-8DED-F71533F7B3E6}">
      <dgm:prSet/>
      <dgm:spPr/>
      <dgm:t>
        <a:bodyPr/>
        <a:lstStyle/>
        <a:p>
          <a:endParaRPr lang="id-ID">
            <a:solidFill>
              <a:schemeClr val="tx1"/>
            </a:solidFill>
            <a:latin typeface="+mj-lt"/>
          </a:endParaRPr>
        </a:p>
      </dgm:t>
    </dgm:pt>
    <dgm:pt modelId="{F027B10C-7579-41E7-B2BC-3E9D66A93A87}">
      <dgm:prSet/>
      <dgm:spPr/>
      <dgm:t>
        <a:bodyPr/>
        <a:lstStyle/>
        <a:p>
          <a:pPr rtl="0"/>
          <a:r>
            <a:rPr lang="id-ID" b="1" dirty="0">
              <a:solidFill>
                <a:srgbClr val="0070C0"/>
              </a:solidFill>
              <a:latin typeface="+mj-lt"/>
            </a:rPr>
            <a:t>SIMPLIFIKASI</a:t>
          </a:r>
          <a:r>
            <a:rPr lang="id-ID" b="1" dirty="0">
              <a:latin typeface="+mj-lt"/>
            </a:rPr>
            <a:t> PROSEDUR KEPABEANAN</a:t>
          </a:r>
        </a:p>
      </dgm:t>
    </dgm:pt>
    <dgm:pt modelId="{C625CEA0-9316-4C44-851C-2B402443B344}" type="parTrans" cxnId="{74A48B4D-88E5-4DB2-B3EC-45ECFB539DCA}">
      <dgm:prSet/>
      <dgm:spPr/>
      <dgm:t>
        <a:bodyPr/>
        <a:lstStyle/>
        <a:p>
          <a:endParaRPr lang="id-ID">
            <a:solidFill>
              <a:schemeClr val="tx1"/>
            </a:solidFill>
            <a:latin typeface="+mj-lt"/>
          </a:endParaRPr>
        </a:p>
      </dgm:t>
    </dgm:pt>
    <dgm:pt modelId="{5E5B90B9-AE44-44B2-B943-021CEC4AF0A9}" type="sibTrans" cxnId="{74A48B4D-88E5-4DB2-B3EC-45ECFB539DCA}">
      <dgm:prSet/>
      <dgm:spPr/>
      <dgm:t>
        <a:bodyPr/>
        <a:lstStyle/>
        <a:p>
          <a:endParaRPr lang="id-ID">
            <a:solidFill>
              <a:schemeClr val="tx1"/>
            </a:solidFill>
            <a:latin typeface="+mj-lt"/>
          </a:endParaRPr>
        </a:p>
      </dgm:t>
    </dgm:pt>
    <dgm:pt modelId="{B3F71CEE-C1AF-483B-A1A2-0D3EBB6E288F}">
      <dgm:prSet/>
      <dgm:spPr/>
      <dgm:t>
        <a:bodyPr/>
        <a:lstStyle/>
        <a:p>
          <a:pPr rtl="0"/>
          <a:r>
            <a:rPr lang="id-ID" b="1" dirty="0">
              <a:latin typeface="+mj-lt"/>
            </a:rPr>
            <a:t>PEMENUHAN DAN PENGAKUAN </a:t>
          </a:r>
          <a:r>
            <a:rPr lang="id-ID" b="1" dirty="0">
              <a:solidFill>
                <a:srgbClr val="0070C0"/>
              </a:solidFill>
              <a:latin typeface="+mj-lt"/>
            </a:rPr>
            <a:t>STANDAR INTERNASIONAL</a:t>
          </a:r>
        </a:p>
      </dgm:t>
    </dgm:pt>
    <dgm:pt modelId="{9EDFABAE-04A8-460A-A294-D3FD5A802D13}" type="parTrans" cxnId="{C9944135-428E-4FC0-B3D6-D91ABBBCFA32}">
      <dgm:prSet/>
      <dgm:spPr/>
      <dgm:t>
        <a:bodyPr/>
        <a:lstStyle/>
        <a:p>
          <a:endParaRPr lang="id-ID">
            <a:solidFill>
              <a:schemeClr val="tx1"/>
            </a:solidFill>
            <a:latin typeface="+mj-lt"/>
          </a:endParaRPr>
        </a:p>
      </dgm:t>
    </dgm:pt>
    <dgm:pt modelId="{C5BEFB5C-EC17-4FAA-AEB7-16B31529D28C}" type="sibTrans" cxnId="{C9944135-428E-4FC0-B3D6-D91ABBBCFA32}">
      <dgm:prSet/>
      <dgm:spPr/>
      <dgm:t>
        <a:bodyPr/>
        <a:lstStyle/>
        <a:p>
          <a:endParaRPr lang="id-ID">
            <a:solidFill>
              <a:schemeClr val="tx1"/>
            </a:solidFill>
            <a:latin typeface="+mj-lt"/>
          </a:endParaRPr>
        </a:p>
      </dgm:t>
    </dgm:pt>
    <dgm:pt modelId="{9C7864F9-4939-4627-8084-C7A21DC1139F}" type="pres">
      <dgm:prSet presAssocID="{F79E04DB-83D1-436C-82D1-CEC8619450D2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EEBEE5F-FC38-4DF9-ACC3-E9B3A21948EC}" type="pres">
      <dgm:prSet presAssocID="{FD6EC6CE-A5BD-4745-A64F-E0B14086A306}" presName="centerShape" presStyleLbl="node0" presStyleIdx="0" presStyleCnt="1" custLinFactNeighborX="0" custLinFactNeighborY="-68"/>
      <dgm:spPr/>
      <dgm:t>
        <a:bodyPr/>
        <a:lstStyle/>
        <a:p>
          <a:endParaRPr lang="en-US"/>
        </a:p>
      </dgm:t>
    </dgm:pt>
    <dgm:pt modelId="{E6CCBA68-82D3-4EF6-A04B-A73974F1C83D}" type="pres">
      <dgm:prSet presAssocID="{CE683A1B-26B2-4033-B0D3-781C3B4D59EA}" presName="parTrans" presStyleLbl="bgSibTrans2D1" presStyleIdx="0" presStyleCnt="5"/>
      <dgm:spPr/>
      <dgm:t>
        <a:bodyPr/>
        <a:lstStyle/>
        <a:p>
          <a:endParaRPr lang="en-US"/>
        </a:p>
      </dgm:t>
    </dgm:pt>
    <dgm:pt modelId="{1EFDA6E5-806E-4F65-A312-7FE860D741EC}" type="pres">
      <dgm:prSet presAssocID="{E72E2074-F5E8-43F0-9AF1-51767B25FF12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FDF9380-2905-486E-9D36-DFEC529FDB62}" type="pres">
      <dgm:prSet presAssocID="{223FCD82-338E-44B2-9493-B306948C49AC}" presName="parTrans" presStyleLbl="bgSibTrans2D1" presStyleIdx="1" presStyleCnt="5"/>
      <dgm:spPr/>
      <dgm:t>
        <a:bodyPr/>
        <a:lstStyle/>
        <a:p>
          <a:endParaRPr lang="en-US"/>
        </a:p>
      </dgm:t>
    </dgm:pt>
    <dgm:pt modelId="{0B6211B9-46AF-4271-9269-B95BC6CB6176}" type="pres">
      <dgm:prSet presAssocID="{9D759447-45A0-4D32-A1DE-8C3103446F31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8CE8035-5D5A-4251-9133-9DC348AB25DF}" type="pres">
      <dgm:prSet presAssocID="{0A7AC6DE-54F8-4737-AD3D-8713F93AF6C3}" presName="parTrans" presStyleLbl="bgSibTrans2D1" presStyleIdx="2" presStyleCnt="5"/>
      <dgm:spPr/>
      <dgm:t>
        <a:bodyPr/>
        <a:lstStyle/>
        <a:p>
          <a:endParaRPr lang="en-US"/>
        </a:p>
      </dgm:t>
    </dgm:pt>
    <dgm:pt modelId="{2AC82BF0-47E2-42F6-85C7-E5AF60496758}" type="pres">
      <dgm:prSet presAssocID="{1E9C9094-0A87-418A-BA03-00C45C13118F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ADC4292-7BC1-449D-9E2E-B25A7E5C7E26}" type="pres">
      <dgm:prSet presAssocID="{C625CEA0-9316-4C44-851C-2B402443B344}" presName="parTrans" presStyleLbl="bgSibTrans2D1" presStyleIdx="3" presStyleCnt="5"/>
      <dgm:spPr/>
      <dgm:t>
        <a:bodyPr/>
        <a:lstStyle/>
        <a:p>
          <a:endParaRPr lang="en-US"/>
        </a:p>
      </dgm:t>
    </dgm:pt>
    <dgm:pt modelId="{F7600A2A-0E93-48D8-9DA6-F7602480A7C2}" type="pres">
      <dgm:prSet presAssocID="{F027B10C-7579-41E7-B2BC-3E9D66A93A87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B1D977B-8DEC-4D15-AD77-7BF17369A6F7}" type="pres">
      <dgm:prSet presAssocID="{9EDFABAE-04A8-460A-A294-D3FD5A802D13}" presName="parTrans" presStyleLbl="bgSibTrans2D1" presStyleIdx="4" presStyleCnt="5"/>
      <dgm:spPr/>
      <dgm:t>
        <a:bodyPr/>
        <a:lstStyle/>
        <a:p>
          <a:endParaRPr lang="en-US"/>
        </a:p>
      </dgm:t>
    </dgm:pt>
    <dgm:pt modelId="{43A5D7DC-E77F-4E75-8BB8-36D89C2C0DC1}" type="pres">
      <dgm:prSet presAssocID="{B3F71CEE-C1AF-483B-A1A2-0D3EBB6E288F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4A48B4D-88E5-4DB2-B3EC-45ECFB539DCA}" srcId="{FD6EC6CE-A5BD-4745-A64F-E0B14086A306}" destId="{F027B10C-7579-41E7-B2BC-3E9D66A93A87}" srcOrd="3" destOrd="0" parTransId="{C625CEA0-9316-4C44-851C-2B402443B344}" sibTransId="{5E5B90B9-AE44-44B2-B943-021CEC4AF0A9}"/>
    <dgm:cxn modelId="{5978A04F-7173-6044-8785-C40681A7669D}" type="presOf" srcId="{F027B10C-7579-41E7-B2BC-3E9D66A93A87}" destId="{F7600A2A-0E93-48D8-9DA6-F7602480A7C2}" srcOrd="0" destOrd="0" presId="urn:microsoft.com/office/officeart/2005/8/layout/radial4"/>
    <dgm:cxn modelId="{46EFADAE-B2B9-4347-8E54-143C730AA5AB}" type="presOf" srcId="{1E9C9094-0A87-418A-BA03-00C45C13118F}" destId="{2AC82BF0-47E2-42F6-85C7-E5AF60496758}" srcOrd="0" destOrd="0" presId="urn:microsoft.com/office/officeart/2005/8/layout/radial4"/>
    <dgm:cxn modelId="{A5971F39-F588-DD4A-BF71-13D3F47F4AB7}" type="presOf" srcId="{CE683A1B-26B2-4033-B0D3-781C3B4D59EA}" destId="{E6CCBA68-82D3-4EF6-A04B-A73974F1C83D}" srcOrd="0" destOrd="0" presId="urn:microsoft.com/office/officeart/2005/8/layout/radial4"/>
    <dgm:cxn modelId="{3D0A9168-5AE8-9C40-A3E5-07C93EF8D96A}" type="presOf" srcId="{B3F71CEE-C1AF-483B-A1A2-0D3EBB6E288F}" destId="{43A5D7DC-E77F-4E75-8BB8-36D89C2C0DC1}" srcOrd="0" destOrd="0" presId="urn:microsoft.com/office/officeart/2005/8/layout/radial4"/>
    <dgm:cxn modelId="{F1B3D10A-223E-FB4D-BCC8-104BD48AEEE4}" type="presOf" srcId="{9D759447-45A0-4D32-A1DE-8C3103446F31}" destId="{0B6211B9-46AF-4271-9269-B95BC6CB6176}" srcOrd="0" destOrd="0" presId="urn:microsoft.com/office/officeart/2005/8/layout/radial4"/>
    <dgm:cxn modelId="{FC32AB9A-0AC8-BE47-9F9B-742E7825D126}" type="presOf" srcId="{E72E2074-F5E8-43F0-9AF1-51767B25FF12}" destId="{1EFDA6E5-806E-4F65-A312-7FE860D741EC}" srcOrd="0" destOrd="0" presId="urn:microsoft.com/office/officeart/2005/8/layout/radial4"/>
    <dgm:cxn modelId="{8AD3A996-82EA-9C42-9F6B-3AE96DA2E3D8}" type="presOf" srcId="{9EDFABAE-04A8-460A-A294-D3FD5A802D13}" destId="{1B1D977B-8DEC-4D15-AD77-7BF17369A6F7}" srcOrd="0" destOrd="0" presId="urn:microsoft.com/office/officeart/2005/8/layout/radial4"/>
    <dgm:cxn modelId="{C9944135-428E-4FC0-B3D6-D91ABBBCFA32}" srcId="{FD6EC6CE-A5BD-4745-A64F-E0B14086A306}" destId="{B3F71CEE-C1AF-483B-A1A2-0D3EBB6E288F}" srcOrd="4" destOrd="0" parTransId="{9EDFABAE-04A8-460A-A294-D3FD5A802D13}" sibTransId="{C5BEFB5C-EC17-4FAA-AEB7-16B31529D28C}"/>
    <dgm:cxn modelId="{4479137D-36B7-4D05-A589-A09E3B25D945}" srcId="{FD6EC6CE-A5BD-4745-A64F-E0B14086A306}" destId="{9D759447-45A0-4D32-A1DE-8C3103446F31}" srcOrd="1" destOrd="0" parTransId="{223FCD82-338E-44B2-9493-B306948C49AC}" sibTransId="{A866787B-014B-41CB-8A17-A2B5BEF8E229}"/>
    <dgm:cxn modelId="{CE92A9E1-3922-1145-8A53-082DA1F46F59}" type="presOf" srcId="{223FCD82-338E-44B2-9493-B306948C49AC}" destId="{EFDF9380-2905-486E-9D36-DFEC529FDB62}" srcOrd="0" destOrd="0" presId="urn:microsoft.com/office/officeart/2005/8/layout/radial4"/>
    <dgm:cxn modelId="{BF7C8D35-B3A3-4957-A1A9-01E7766F3EED}" srcId="{FD6EC6CE-A5BD-4745-A64F-E0B14086A306}" destId="{E72E2074-F5E8-43F0-9AF1-51767B25FF12}" srcOrd="0" destOrd="0" parTransId="{CE683A1B-26B2-4033-B0D3-781C3B4D59EA}" sibTransId="{9D9777F2-6F59-4CC1-BE8F-644154A5589A}"/>
    <dgm:cxn modelId="{763E5BDB-E6F5-43B2-8DED-F71533F7B3E6}" srcId="{FD6EC6CE-A5BD-4745-A64F-E0B14086A306}" destId="{1E9C9094-0A87-418A-BA03-00C45C13118F}" srcOrd="2" destOrd="0" parTransId="{0A7AC6DE-54F8-4737-AD3D-8713F93AF6C3}" sibTransId="{9F9A76B5-5420-4504-BD21-0DAABE94C895}"/>
    <dgm:cxn modelId="{4E6C5127-B065-4BC9-B382-CCA7076CA1DE}" srcId="{F79E04DB-83D1-436C-82D1-CEC8619450D2}" destId="{FD6EC6CE-A5BD-4745-A64F-E0B14086A306}" srcOrd="0" destOrd="0" parTransId="{69C0A263-7966-489F-B3A6-C2C0121E52E9}" sibTransId="{CD2AE70D-E9E6-43A3-88E5-ABF8BDE7C7AE}"/>
    <dgm:cxn modelId="{E403DCDC-9E5C-7544-A299-758E2432CE78}" type="presOf" srcId="{F79E04DB-83D1-436C-82D1-CEC8619450D2}" destId="{9C7864F9-4939-4627-8084-C7A21DC1139F}" srcOrd="0" destOrd="0" presId="urn:microsoft.com/office/officeart/2005/8/layout/radial4"/>
    <dgm:cxn modelId="{88558BC6-E514-AA48-874F-B83BD01C5C66}" type="presOf" srcId="{FD6EC6CE-A5BD-4745-A64F-E0B14086A306}" destId="{7EEBEE5F-FC38-4DF9-ACC3-E9B3A21948EC}" srcOrd="0" destOrd="0" presId="urn:microsoft.com/office/officeart/2005/8/layout/radial4"/>
    <dgm:cxn modelId="{F7848AFE-B532-A64C-B662-15080AE2C17A}" type="presOf" srcId="{C625CEA0-9316-4C44-851C-2B402443B344}" destId="{EADC4292-7BC1-449D-9E2E-B25A7E5C7E26}" srcOrd="0" destOrd="0" presId="urn:microsoft.com/office/officeart/2005/8/layout/radial4"/>
    <dgm:cxn modelId="{E7D58C43-ACA8-454A-8EA0-38C56E25F881}" type="presOf" srcId="{0A7AC6DE-54F8-4737-AD3D-8713F93AF6C3}" destId="{58CE8035-5D5A-4251-9133-9DC348AB25DF}" srcOrd="0" destOrd="0" presId="urn:microsoft.com/office/officeart/2005/8/layout/radial4"/>
    <dgm:cxn modelId="{A5827837-CDD1-DA49-A023-18EA92572C9E}" type="presParOf" srcId="{9C7864F9-4939-4627-8084-C7A21DC1139F}" destId="{7EEBEE5F-FC38-4DF9-ACC3-E9B3A21948EC}" srcOrd="0" destOrd="0" presId="urn:microsoft.com/office/officeart/2005/8/layout/radial4"/>
    <dgm:cxn modelId="{C23334E5-1C14-0845-8BB8-7AB01FEA1C52}" type="presParOf" srcId="{9C7864F9-4939-4627-8084-C7A21DC1139F}" destId="{E6CCBA68-82D3-4EF6-A04B-A73974F1C83D}" srcOrd="1" destOrd="0" presId="urn:microsoft.com/office/officeart/2005/8/layout/radial4"/>
    <dgm:cxn modelId="{7F7B3D3D-40B4-8345-9BC0-EF3BAD3EF4C1}" type="presParOf" srcId="{9C7864F9-4939-4627-8084-C7A21DC1139F}" destId="{1EFDA6E5-806E-4F65-A312-7FE860D741EC}" srcOrd="2" destOrd="0" presId="urn:microsoft.com/office/officeart/2005/8/layout/radial4"/>
    <dgm:cxn modelId="{FC974757-EF5F-BD4D-ABE7-A32210CA0983}" type="presParOf" srcId="{9C7864F9-4939-4627-8084-C7A21DC1139F}" destId="{EFDF9380-2905-486E-9D36-DFEC529FDB62}" srcOrd="3" destOrd="0" presId="urn:microsoft.com/office/officeart/2005/8/layout/radial4"/>
    <dgm:cxn modelId="{4854A6FF-A11E-664F-B043-F9875A005F4C}" type="presParOf" srcId="{9C7864F9-4939-4627-8084-C7A21DC1139F}" destId="{0B6211B9-46AF-4271-9269-B95BC6CB6176}" srcOrd="4" destOrd="0" presId="urn:microsoft.com/office/officeart/2005/8/layout/radial4"/>
    <dgm:cxn modelId="{B2A952ED-54D5-0D48-8503-0E50BD8EEE64}" type="presParOf" srcId="{9C7864F9-4939-4627-8084-C7A21DC1139F}" destId="{58CE8035-5D5A-4251-9133-9DC348AB25DF}" srcOrd="5" destOrd="0" presId="urn:microsoft.com/office/officeart/2005/8/layout/radial4"/>
    <dgm:cxn modelId="{DAB5EE14-AE93-7642-A382-8F8C241A48F7}" type="presParOf" srcId="{9C7864F9-4939-4627-8084-C7A21DC1139F}" destId="{2AC82BF0-47E2-42F6-85C7-E5AF60496758}" srcOrd="6" destOrd="0" presId="urn:microsoft.com/office/officeart/2005/8/layout/radial4"/>
    <dgm:cxn modelId="{B98AAB68-9872-5C40-BAE3-42E6A5953A39}" type="presParOf" srcId="{9C7864F9-4939-4627-8084-C7A21DC1139F}" destId="{EADC4292-7BC1-449D-9E2E-B25A7E5C7E26}" srcOrd="7" destOrd="0" presId="urn:microsoft.com/office/officeart/2005/8/layout/radial4"/>
    <dgm:cxn modelId="{74CBC881-57FE-0C4C-9393-6D4F880551A7}" type="presParOf" srcId="{9C7864F9-4939-4627-8084-C7A21DC1139F}" destId="{F7600A2A-0E93-48D8-9DA6-F7602480A7C2}" srcOrd="8" destOrd="0" presId="urn:microsoft.com/office/officeart/2005/8/layout/radial4"/>
    <dgm:cxn modelId="{513A214A-FDB3-7147-AD3E-9F8BD70E952A}" type="presParOf" srcId="{9C7864F9-4939-4627-8084-C7A21DC1139F}" destId="{1B1D977B-8DEC-4D15-AD77-7BF17369A6F7}" srcOrd="9" destOrd="0" presId="urn:microsoft.com/office/officeart/2005/8/layout/radial4"/>
    <dgm:cxn modelId="{80327F54-6A61-5E40-8E64-ED96C08E2684}" type="presParOf" srcId="{9C7864F9-4939-4627-8084-C7A21DC1139F}" destId="{43A5D7DC-E77F-4E75-8BB8-36D89C2C0DC1}" srcOrd="10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F9644B8-7947-4249-A0D0-12BDB80D61DA}" type="doc">
      <dgm:prSet loTypeId="urn:microsoft.com/office/officeart/2005/8/layout/vList2" loCatId="list" qsTypeId="urn:microsoft.com/office/officeart/2005/8/quickstyle/simple3" qsCatId="simple" csTypeId="urn:microsoft.com/office/officeart/2005/8/colors/colorful4" csCatId="colorful" phldr="1"/>
      <dgm:spPr/>
      <dgm:t>
        <a:bodyPr/>
        <a:lstStyle/>
        <a:p>
          <a:endParaRPr lang="id-ID"/>
        </a:p>
      </dgm:t>
    </dgm:pt>
    <dgm:pt modelId="{D1CF2375-180E-4EBF-BA0E-FC7C7FF699B3}">
      <dgm:prSet custT="1"/>
      <dgm:spPr/>
      <dgm:t>
        <a:bodyPr/>
        <a:lstStyle/>
        <a:p>
          <a:r>
            <a:rPr lang="id-ID" sz="2400" b="1" dirty="0">
              <a:latin typeface="Garamond" charset="0"/>
              <a:ea typeface="Garamond" charset="0"/>
              <a:cs typeface="Garamond" charset="0"/>
            </a:rPr>
            <a:t>As consequence of increasing safety and security </a:t>
          </a:r>
          <a:r>
            <a:rPr lang="id-ID" sz="2400" b="1" dirty="0" err="1">
              <a:latin typeface="Garamond" charset="0"/>
              <a:ea typeface="Garamond" charset="0"/>
              <a:cs typeface="Garamond" charset="0"/>
            </a:rPr>
            <a:t>standards</a:t>
          </a:r>
          <a:r>
            <a:rPr lang="id-ID" sz="2400" b="1" dirty="0" smtClean="0">
              <a:latin typeface="Garamond" charset="0"/>
              <a:ea typeface="Garamond" charset="0"/>
              <a:cs typeface="Garamond" charset="0"/>
            </a:rPr>
            <a:t>, </a:t>
          </a:r>
          <a:r>
            <a:rPr lang="id-ID" sz="2400" b="1" dirty="0" err="1" smtClean="0">
              <a:latin typeface="Garamond" charset="0"/>
              <a:ea typeface="Garamond" charset="0"/>
              <a:cs typeface="Garamond" charset="0"/>
            </a:rPr>
            <a:t>AEO’s</a:t>
          </a:r>
          <a:r>
            <a:rPr lang="id-ID" sz="2400" b="1" dirty="0" smtClean="0">
              <a:latin typeface="Garamond" charset="0"/>
              <a:ea typeface="Garamond" charset="0"/>
              <a:cs typeface="Garamond" charset="0"/>
            </a:rPr>
            <a:t> </a:t>
          </a:r>
          <a:r>
            <a:rPr lang="id-ID" sz="2400" b="1" dirty="0">
              <a:latin typeface="Garamond" charset="0"/>
              <a:ea typeface="Garamond" charset="0"/>
              <a:cs typeface="Garamond" charset="0"/>
            </a:rPr>
            <a:t>may also benefit from the following:</a:t>
          </a:r>
        </a:p>
      </dgm:t>
    </dgm:pt>
    <dgm:pt modelId="{C34BF98D-C428-4F09-91DC-2A1390D347E3}" type="parTrans" cxnId="{5A892BA0-036D-49A0-8FE2-1BAC2C6082D8}">
      <dgm:prSet/>
      <dgm:spPr/>
      <dgm:t>
        <a:bodyPr/>
        <a:lstStyle/>
        <a:p>
          <a:endParaRPr lang="id-ID"/>
        </a:p>
      </dgm:t>
    </dgm:pt>
    <dgm:pt modelId="{37A74C92-E96D-4A02-BCFA-3A3E7CE26D3E}" type="sibTrans" cxnId="{5A892BA0-036D-49A0-8FE2-1BAC2C6082D8}">
      <dgm:prSet/>
      <dgm:spPr/>
      <dgm:t>
        <a:bodyPr/>
        <a:lstStyle/>
        <a:p>
          <a:endParaRPr lang="id-ID"/>
        </a:p>
      </dgm:t>
    </dgm:pt>
    <dgm:pt modelId="{6B655595-3D67-47C3-BE52-17E87B984D3C}">
      <dgm:prSet custT="1"/>
      <dgm:spPr/>
      <dgm:t>
        <a:bodyPr/>
        <a:lstStyle/>
        <a:p>
          <a:r>
            <a:rPr lang="id-ID" sz="2000" b="1" dirty="0" err="1" smtClean="0">
              <a:latin typeface="Garamond" charset="0"/>
              <a:ea typeface="Garamond" charset="0"/>
              <a:cs typeface="Garamond" charset="0"/>
            </a:rPr>
            <a:t>Reduced</a:t>
          </a:r>
          <a:r>
            <a:rPr lang="id-ID" sz="2000" b="1" dirty="0" smtClean="0">
              <a:latin typeface="Garamond" charset="0"/>
              <a:ea typeface="Garamond" charset="0"/>
              <a:cs typeface="Garamond" charset="0"/>
            </a:rPr>
            <a:t> </a:t>
          </a:r>
          <a:r>
            <a:rPr lang="id-ID" sz="2000" b="1" dirty="0">
              <a:latin typeface="Garamond" charset="0"/>
              <a:ea typeface="Garamond" charset="0"/>
              <a:cs typeface="Garamond" charset="0"/>
            </a:rPr>
            <a:t>theft and losses;</a:t>
          </a:r>
        </a:p>
      </dgm:t>
    </dgm:pt>
    <dgm:pt modelId="{D43BF92B-C0DC-4F34-8CFB-1BB952212D5C}" type="parTrans" cxnId="{5DC74C01-5277-4219-89D3-8C70AEECAF24}">
      <dgm:prSet/>
      <dgm:spPr/>
      <dgm:t>
        <a:bodyPr/>
        <a:lstStyle/>
        <a:p>
          <a:endParaRPr lang="id-ID"/>
        </a:p>
      </dgm:t>
    </dgm:pt>
    <dgm:pt modelId="{CA59A6F7-EF6F-4A51-9399-8914F2692F95}" type="sibTrans" cxnId="{5DC74C01-5277-4219-89D3-8C70AEECAF24}">
      <dgm:prSet/>
      <dgm:spPr/>
      <dgm:t>
        <a:bodyPr/>
        <a:lstStyle/>
        <a:p>
          <a:endParaRPr lang="id-ID"/>
        </a:p>
      </dgm:t>
    </dgm:pt>
    <dgm:pt modelId="{18B4E616-128E-46C2-9DC9-B34136E8F5C9}">
      <dgm:prSet custT="1"/>
      <dgm:spPr/>
      <dgm:t>
        <a:bodyPr/>
        <a:lstStyle/>
        <a:p>
          <a:r>
            <a:rPr lang="id-ID" sz="2000" b="1" dirty="0">
              <a:latin typeface="Garamond" charset="0"/>
              <a:ea typeface="Garamond" charset="0"/>
              <a:cs typeface="Garamond" charset="0"/>
            </a:rPr>
            <a:t>Fewer de</a:t>
          </a:r>
          <a:r>
            <a:rPr lang="en-AU" sz="2000" b="1" dirty="0" err="1">
              <a:latin typeface="Garamond" charset="0"/>
              <a:ea typeface="Garamond" charset="0"/>
              <a:cs typeface="Garamond" charset="0"/>
            </a:rPr>
            <a:t>layed</a:t>
          </a:r>
          <a:r>
            <a:rPr lang="id-ID" sz="2000" b="1" dirty="0">
              <a:latin typeface="Garamond" charset="0"/>
              <a:ea typeface="Garamond" charset="0"/>
              <a:cs typeface="Garamond" charset="0"/>
            </a:rPr>
            <a:t> shipments;</a:t>
          </a:r>
        </a:p>
      </dgm:t>
    </dgm:pt>
    <dgm:pt modelId="{5F95749B-3BBC-4B33-AB87-B1CAAADE1893}" type="parTrans" cxnId="{36949FAA-A48B-4EC2-B115-76E1936A43B9}">
      <dgm:prSet/>
      <dgm:spPr/>
      <dgm:t>
        <a:bodyPr/>
        <a:lstStyle/>
        <a:p>
          <a:endParaRPr lang="id-ID"/>
        </a:p>
      </dgm:t>
    </dgm:pt>
    <dgm:pt modelId="{93679389-4844-4F87-AD82-7A4A018A6230}" type="sibTrans" cxnId="{36949FAA-A48B-4EC2-B115-76E1936A43B9}">
      <dgm:prSet/>
      <dgm:spPr/>
      <dgm:t>
        <a:bodyPr/>
        <a:lstStyle/>
        <a:p>
          <a:endParaRPr lang="id-ID"/>
        </a:p>
      </dgm:t>
    </dgm:pt>
    <dgm:pt modelId="{87DF2C90-FA21-4A2A-A50A-42474A582816}">
      <dgm:prSet custT="1"/>
      <dgm:spPr/>
      <dgm:t>
        <a:bodyPr/>
        <a:lstStyle/>
        <a:p>
          <a:r>
            <a:rPr lang="id-ID" sz="2000" b="1" dirty="0">
              <a:latin typeface="Garamond" charset="0"/>
              <a:ea typeface="Garamond" charset="0"/>
              <a:cs typeface="Garamond" charset="0"/>
            </a:rPr>
            <a:t>Improved planning</a:t>
          </a:r>
        </a:p>
      </dgm:t>
    </dgm:pt>
    <dgm:pt modelId="{5B3DDF16-7125-41D6-9E89-692876FD68B4}" type="parTrans" cxnId="{CAB7675B-19CA-4508-BD38-618F1EE17AEA}">
      <dgm:prSet/>
      <dgm:spPr/>
      <dgm:t>
        <a:bodyPr/>
        <a:lstStyle/>
        <a:p>
          <a:endParaRPr lang="id-ID"/>
        </a:p>
      </dgm:t>
    </dgm:pt>
    <dgm:pt modelId="{4A27946D-13B6-40B8-8E84-F6BB50D6B0E6}" type="sibTrans" cxnId="{CAB7675B-19CA-4508-BD38-618F1EE17AEA}">
      <dgm:prSet/>
      <dgm:spPr/>
      <dgm:t>
        <a:bodyPr/>
        <a:lstStyle/>
        <a:p>
          <a:endParaRPr lang="id-ID"/>
        </a:p>
      </dgm:t>
    </dgm:pt>
    <dgm:pt modelId="{3FAE7151-6DDF-44B5-8E40-C59FAFF0ECE2}">
      <dgm:prSet custT="1"/>
      <dgm:spPr/>
      <dgm:t>
        <a:bodyPr/>
        <a:lstStyle/>
        <a:p>
          <a:r>
            <a:rPr lang="id-ID" sz="2000" b="1" dirty="0">
              <a:latin typeface="Garamond" charset="0"/>
              <a:ea typeface="Garamond" charset="0"/>
              <a:cs typeface="Garamond" charset="0"/>
            </a:rPr>
            <a:t>Improved customer loyalty</a:t>
          </a:r>
        </a:p>
      </dgm:t>
    </dgm:pt>
    <dgm:pt modelId="{BDA6756F-C4AE-4771-B024-8EA6B7D1DDCD}" type="parTrans" cxnId="{D804DD04-9EAB-47B3-BC63-11219738B0DD}">
      <dgm:prSet/>
      <dgm:spPr/>
      <dgm:t>
        <a:bodyPr/>
        <a:lstStyle/>
        <a:p>
          <a:endParaRPr lang="id-ID"/>
        </a:p>
      </dgm:t>
    </dgm:pt>
    <dgm:pt modelId="{14C1A82F-CEAE-43DB-A762-39885F4AAC00}" type="sibTrans" cxnId="{D804DD04-9EAB-47B3-BC63-11219738B0DD}">
      <dgm:prSet/>
      <dgm:spPr/>
      <dgm:t>
        <a:bodyPr/>
        <a:lstStyle/>
        <a:p>
          <a:endParaRPr lang="id-ID"/>
        </a:p>
      </dgm:t>
    </dgm:pt>
    <dgm:pt modelId="{20F5F127-D873-4A37-B97A-E0FD7AB9AA9F}">
      <dgm:prSet custT="1"/>
      <dgm:spPr/>
      <dgm:t>
        <a:bodyPr/>
        <a:lstStyle/>
        <a:p>
          <a:r>
            <a:rPr lang="id-ID" sz="2000" b="1" dirty="0">
              <a:latin typeface="Garamond" charset="0"/>
              <a:ea typeface="Garamond" charset="0"/>
              <a:cs typeface="Garamond" charset="0"/>
            </a:rPr>
            <a:t>Red</a:t>
          </a:r>
          <a:r>
            <a:rPr lang="en-AU" sz="2000" b="1" dirty="0">
              <a:latin typeface="Garamond" charset="0"/>
              <a:ea typeface="Garamond" charset="0"/>
              <a:cs typeface="Garamond" charset="0"/>
            </a:rPr>
            <a:t>u</a:t>
          </a:r>
          <a:r>
            <a:rPr lang="id-ID" sz="2000" b="1" dirty="0">
              <a:latin typeface="Garamond" charset="0"/>
              <a:ea typeface="Garamond" charset="0"/>
              <a:cs typeface="Garamond" charset="0"/>
            </a:rPr>
            <a:t>ced security and safety incidents</a:t>
          </a:r>
        </a:p>
      </dgm:t>
    </dgm:pt>
    <dgm:pt modelId="{BBC55B18-3428-4DB9-B2FB-4B843E5A0BBC}" type="parTrans" cxnId="{8B421974-6D69-458C-860A-01DEBE015B77}">
      <dgm:prSet/>
      <dgm:spPr/>
      <dgm:t>
        <a:bodyPr/>
        <a:lstStyle/>
        <a:p>
          <a:endParaRPr lang="id-ID"/>
        </a:p>
      </dgm:t>
    </dgm:pt>
    <dgm:pt modelId="{B07B81A8-D096-4ACE-A029-C8CF752D2B49}" type="sibTrans" cxnId="{8B421974-6D69-458C-860A-01DEBE015B77}">
      <dgm:prSet/>
      <dgm:spPr/>
      <dgm:t>
        <a:bodyPr/>
        <a:lstStyle/>
        <a:p>
          <a:endParaRPr lang="id-ID"/>
        </a:p>
      </dgm:t>
    </dgm:pt>
    <dgm:pt modelId="{89037842-F569-4487-AEA8-64402FCBC20B}">
      <dgm:prSet custT="1"/>
      <dgm:spPr/>
      <dgm:t>
        <a:bodyPr/>
        <a:lstStyle/>
        <a:p>
          <a:r>
            <a:rPr lang="id-ID" sz="2000" b="1" dirty="0">
              <a:latin typeface="Garamond" charset="0"/>
              <a:ea typeface="Garamond" charset="0"/>
              <a:cs typeface="Garamond" charset="0"/>
            </a:rPr>
            <a:t>Reduced crime and vandalism</a:t>
          </a:r>
        </a:p>
      </dgm:t>
    </dgm:pt>
    <dgm:pt modelId="{FE294E11-3518-4D0B-8682-0E1AD706D521}" type="parTrans" cxnId="{34F17325-1A3C-464C-8F34-EA6AB4AC2AB1}">
      <dgm:prSet/>
      <dgm:spPr/>
      <dgm:t>
        <a:bodyPr/>
        <a:lstStyle/>
        <a:p>
          <a:endParaRPr lang="id-ID"/>
        </a:p>
      </dgm:t>
    </dgm:pt>
    <dgm:pt modelId="{59DC115D-B37D-4883-BE5E-94233DB32242}" type="sibTrans" cxnId="{34F17325-1A3C-464C-8F34-EA6AB4AC2AB1}">
      <dgm:prSet/>
      <dgm:spPr/>
      <dgm:t>
        <a:bodyPr/>
        <a:lstStyle/>
        <a:p>
          <a:endParaRPr lang="id-ID"/>
        </a:p>
      </dgm:t>
    </dgm:pt>
    <dgm:pt modelId="{2E6CFCBC-463B-4755-9C4D-A3E719076CDF}">
      <dgm:prSet custT="1"/>
      <dgm:spPr/>
      <dgm:t>
        <a:bodyPr/>
        <a:lstStyle/>
        <a:p>
          <a:r>
            <a:rPr lang="id-ID" sz="2000" b="1" dirty="0">
              <a:latin typeface="Garamond" charset="0"/>
              <a:ea typeface="Garamond" charset="0"/>
              <a:cs typeface="Garamond" charset="0"/>
            </a:rPr>
            <a:t>Improved security and communication between supply chain partners</a:t>
          </a:r>
        </a:p>
      </dgm:t>
    </dgm:pt>
    <dgm:pt modelId="{AC3C79C0-9EA0-423E-A43F-4C4AEE7BBC13}" type="parTrans" cxnId="{CCC08C91-A925-4BA0-A7B4-BC2BD164C4BD}">
      <dgm:prSet/>
      <dgm:spPr/>
      <dgm:t>
        <a:bodyPr/>
        <a:lstStyle/>
        <a:p>
          <a:endParaRPr lang="id-ID"/>
        </a:p>
      </dgm:t>
    </dgm:pt>
    <dgm:pt modelId="{8D3BF39C-464A-45B5-8131-91C631AFB2E1}" type="sibTrans" cxnId="{CCC08C91-A925-4BA0-A7B4-BC2BD164C4BD}">
      <dgm:prSet/>
      <dgm:spPr/>
      <dgm:t>
        <a:bodyPr/>
        <a:lstStyle/>
        <a:p>
          <a:endParaRPr lang="id-ID"/>
        </a:p>
      </dgm:t>
    </dgm:pt>
    <dgm:pt modelId="{0F7C88C1-E46B-42F6-977E-973B9246162B}" type="pres">
      <dgm:prSet presAssocID="{BF9644B8-7947-4249-A0D0-12BDB80D61D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FBC9368-FB4E-4BE2-99D8-5F89C3EC52FD}" type="pres">
      <dgm:prSet presAssocID="{D1CF2375-180E-4EBF-BA0E-FC7C7FF699B3}" presName="parentText" presStyleLbl="node1" presStyleIdx="0" presStyleCnt="1" custLinFactNeighborX="-116" custLinFactNeighborY="-2834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EE98409-D22E-4D1A-81A8-DFDDA95A7A74}" type="pres">
      <dgm:prSet presAssocID="{D1CF2375-180E-4EBF-BA0E-FC7C7FF699B3}" presName="childText" presStyleLbl="revTx" presStyleIdx="0" presStyleCnt="1" custScaleY="13003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9DFA77D-769C-DC4A-BF15-BD901AB6F414}" type="presOf" srcId="{87DF2C90-FA21-4A2A-A50A-42474A582816}" destId="{DEE98409-D22E-4D1A-81A8-DFDDA95A7A74}" srcOrd="0" destOrd="2" presId="urn:microsoft.com/office/officeart/2005/8/layout/vList2"/>
    <dgm:cxn modelId="{34F17325-1A3C-464C-8F34-EA6AB4AC2AB1}" srcId="{D1CF2375-180E-4EBF-BA0E-FC7C7FF699B3}" destId="{89037842-F569-4487-AEA8-64402FCBC20B}" srcOrd="5" destOrd="0" parTransId="{FE294E11-3518-4D0B-8682-0E1AD706D521}" sibTransId="{59DC115D-B37D-4883-BE5E-94233DB32242}"/>
    <dgm:cxn modelId="{CCC08C91-A925-4BA0-A7B4-BC2BD164C4BD}" srcId="{D1CF2375-180E-4EBF-BA0E-FC7C7FF699B3}" destId="{2E6CFCBC-463B-4755-9C4D-A3E719076CDF}" srcOrd="6" destOrd="0" parTransId="{AC3C79C0-9EA0-423E-A43F-4C4AEE7BBC13}" sibTransId="{8D3BF39C-464A-45B5-8131-91C631AFB2E1}"/>
    <dgm:cxn modelId="{BF248786-5681-BF4C-ACF6-E636C178B2AF}" type="presOf" srcId="{3FAE7151-6DDF-44B5-8E40-C59FAFF0ECE2}" destId="{DEE98409-D22E-4D1A-81A8-DFDDA95A7A74}" srcOrd="0" destOrd="3" presId="urn:microsoft.com/office/officeart/2005/8/layout/vList2"/>
    <dgm:cxn modelId="{4F58B4A9-ED84-3D41-BCF5-2117EDE09DA8}" type="presOf" srcId="{6B655595-3D67-47C3-BE52-17E87B984D3C}" destId="{DEE98409-D22E-4D1A-81A8-DFDDA95A7A74}" srcOrd="0" destOrd="0" presId="urn:microsoft.com/office/officeart/2005/8/layout/vList2"/>
    <dgm:cxn modelId="{DD6C8DC9-604C-1C4C-9313-AEA8F7147160}" type="presOf" srcId="{20F5F127-D873-4A37-B97A-E0FD7AB9AA9F}" destId="{DEE98409-D22E-4D1A-81A8-DFDDA95A7A74}" srcOrd="0" destOrd="4" presId="urn:microsoft.com/office/officeart/2005/8/layout/vList2"/>
    <dgm:cxn modelId="{D27A0283-B63F-9841-8183-5E829B122280}" type="presOf" srcId="{D1CF2375-180E-4EBF-BA0E-FC7C7FF699B3}" destId="{5FBC9368-FB4E-4BE2-99D8-5F89C3EC52FD}" srcOrd="0" destOrd="0" presId="urn:microsoft.com/office/officeart/2005/8/layout/vList2"/>
    <dgm:cxn modelId="{36949FAA-A48B-4EC2-B115-76E1936A43B9}" srcId="{D1CF2375-180E-4EBF-BA0E-FC7C7FF699B3}" destId="{18B4E616-128E-46C2-9DC9-B34136E8F5C9}" srcOrd="1" destOrd="0" parTransId="{5F95749B-3BBC-4B33-AB87-B1CAAADE1893}" sibTransId="{93679389-4844-4F87-AD82-7A4A018A6230}"/>
    <dgm:cxn modelId="{5A892BA0-036D-49A0-8FE2-1BAC2C6082D8}" srcId="{BF9644B8-7947-4249-A0D0-12BDB80D61DA}" destId="{D1CF2375-180E-4EBF-BA0E-FC7C7FF699B3}" srcOrd="0" destOrd="0" parTransId="{C34BF98D-C428-4F09-91DC-2A1390D347E3}" sibTransId="{37A74C92-E96D-4A02-BCFA-3A3E7CE26D3E}"/>
    <dgm:cxn modelId="{E2F38679-F75C-9648-8439-FF4419C6BCA7}" type="presOf" srcId="{89037842-F569-4487-AEA8-64402FCBC20B}" destId="{DEE98409-D22E-4D1A-81A8-DFDDA95A7A74}" srcOrd="0" destOrd="5" presId="urn:microsoft.com/office/officeart/2005/8/layout/vList2"/>
    <dgm:cxn modelId="{CAB7675B-19CA-4508-BD38-618F1EE17AEA}" srcId="{D1CF2375-180E-4EBF-BA0E-FC7C7FF699B3}" destId="{87DF2C90-FA21-4A2A-A50A-42474A582816}" srcOrd="2" destOrd="0" parTransId="{5B3DDF16-7125-41D6-9E89-692876FD68B4}" sibTransId="{4A27946D-13B6-40B8-8E84-F6BB50D6B0E6}"/>
    <dgm:cxn modelId="{8B421974-6D69-458C-860A-01DEBE015B77}" srcId="{D1CF2375-180E-4EBF-BA0E-FC7C7FF699B3}" destId="{20F5F127-D873-4A37-B97A-E0FD7AB9AA9F}" srcOrd="4" destOrd="0" parTransId="{BBC55B18-3428-4DB9-B2FB-4B843E5A0BBC}" sibTransId="{B07B81A8-D096-4ACE-A029-C8CF752D2B49}"/>
    <dgm:cxn modelId="{D804DD04-9EAB-47B3-BC63-11219738B0DD}" srcId="{D1CF2375-180E-4EBF-BA0E-FC7C7FF699B3}" destId="{3FAE7151-6DDF-44B5-8E40-C59FAFF0ECE2}" srcOrd="3" destOrd="0" parTransId="{BDA6756F-C4AE-4771-B024-8EA6B7D1DDCD}" sibTransId="{14C1A82F-CEAE-43DB-A762-39885F4AAC00}"/>
    <dgm:cxn modelId="{A5AF1189-C91C-9649-ADA1-FD5F10DB3569}" type="presOf" srcId="{2E6CFCBC-463B-4755-9C4D-A3E719076CDF}" destId="{DEE98409-D22E-4D1A-81A8-DFDDA95A7A74}" srcOrd="0" destOrd="6" presId="urn:microsoft.com/office/officeart/2005/8/layout/vList2"/>
    <dgm:cxn modelId="{5DC74C01-5277-4219-89D3-8C70AEECAF24}" srcId="{D1CF2375-180E-4EBF-BA0E-FC7C7FF699B3}" destId="{6B655595-3D67-47C3-BE52-17E87B984D3C}" srcOrd="0" destOrd="0" parTransId="{D43BF92B-C0DC-4F34-8CFB-1BB952212D5C}" sibTransId="{CA59A6F7-EF6F-4A51-9399-8914F2692F95}"/>
    <dgm:cxn modelId="{0132F55E-D4A0-354D-98D8-1B90CBA28154}" type="presOf" srcId="{18B4E616-128E-46C2-9DC9-B34136E8F5C9}" destId="{DEE98409-D22E-4D1A-81A8-DFDDA95A7A74}" srcOrd="0" destOrd="1" presId="urn:microsoft.com/office/officeart/2005/8/layout/vList2"/>
    <dgm:cxn modelId="{9F4E0C56-4A29-A244-90B7-068827469B2C}" type="presOf" srcId="{BF9644B8-7947-4249-A0D0-12BDB80D61DA}" destId="{0F7C88C1-E46B-42F6-977E-973B9246162B}" srcOrd="0" destOrd="0" presId="urn:microsoft.com/office/officeart/2005/8/layout/vList2"/>
    <dgm:cxn modelId="{E26C5D9D-A62B-FC4D-9644-A1A3ADAF2A04}" type="presParOf" srcId="{0F7C88C1-E46B-42F6-977E-973B9246162B}" destId="{5FBC9368-FB4E-4BE2-99D8-5F89C3EC52FD}" srcOrd="0" destOrd="0" presId="urn:microsoft.com/office/officeart/2005/8/layout/vList2"/>
    <dgm:cxn modelId="{8C8624E0-7EE3-494F-B097-7EA8C34CECA8}" type="presParOf" srcId="{0F7C88C1-E46B-42F6-977E-973B9246162B}" destId="{DEE98409-D22E-4D1A-81A8-DFDDA95A7A74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BC0E872-ADAB-4D1B-AD5A-AB25D78309B6}" type="doc">
      <dgm:prSet loTypeId="urn:microsoft.com/office/officeart/2005/8/layout/default" loCatId="list" qsTypeId="urn:microsoft.com/office/officeart/2005/8/quickstyle/simple5" qsCatId="simple" csTypeId="urn:microsoft.com/office/officeart/2005/8/colors/colorful5" csCatId="colorful" phldr="1"/>
      <dgm:spPr/>
      <dgm:t>
        <a:bodyPr/>
        <a:lstStyle/>
        <a:p>
          <a:endParaRPr lang="id-ID"/>
        </a:p>
      </dgm:t>
    </dgm:pt>
    <dgm:pt modelId="{5B95FDEC-8304-4CDA-8DC1-EAB9EF07D12A}">
      <dgm:prSet phldrT="[Text]"/>
      <dgm:spPr/>
      <dgm:t>
        <a:bodyPr/>
        <a:lstStyle/>
        <a:p>
          <a:r>
            <a:rPr lang="en-US" b="1" dirty="0" err="1" smtClean="0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Penelitian</a:t>
          </a:r>
          <a:r>
            <a:rPr lang="en-US" b="1" dirty="0" smtClean="0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 </a:t>
          </a:r>
          <a:r>
            <a:rPr lang="en-US" b="1" dirty="0" err="1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dokumen</a:t>
          </a:r>
          <a:r>
            <a:rPr lang="en-US" b="1" dirty="0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 </a:t>
          </a:r>
          <a:r>
            <a:rPr lang="en-US" b="1" dirty="0" err="1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dan</a:t>
          </a:r>
          <a:r>
            <a:rPr lang="en-US" b="1" dirty="0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/</a:t>
          </a:r>
          <a:r>
            <a:rPr lang="en-US" b="1" dirty="0" err="1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atau</a:t>
          </a:r>
          <a:r>
            <a:rPr lang="en-US" b="1" dirty="0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 </a:t>
          </a:r>
          <a:r>
            <a:rPr lang="en-US" b="1" dirty="0" err="1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pemeriksaan</a:t>
          </a:r>
          <a:r>
            <a:rPr lang="en-US" b="1" dirty="0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 </a:t>
          </a:r>
          <a:r>
            <a:rPr lang="en-US" b="1" dirty="0" err="1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fisik</a:t>
          </a:r>
          <a:r>
            <a:rPr lang="en-US" b="1" dirty="0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 yang minimal; </a:t>
          </a:r>
          <a:endParaRPr lang="id-ID" b="1" dirty="0">
            <a:solidFill>
              <a:srgbClr val="002060"/>
            </a:solidFill>
            <a:latin typeface="+mn-lt"/>
            <a:ea typeface="Arial" charset="0"/>
            <a:cs typeface="Arial" charset="0"/>
          </a:endParaRPr>
        </a:p>
      </dgm:t>
    </dgm:pt>
    <dgm:pt modelId="{3F747D7F-66CA-4325-A395-7A26A9A3E4EA}" type="parTrans" cxnId="{83996804-AFB8-4CFA-AAC3-50EEE5B23EEC}">
      <dgm:prSet/>
      <dgm:spPr/>
      <dgm:t>
        <a:bodyPr/>
        <a:lstStyle/>
        <a:p>
          <a:endParaRPr lang="id-ID"/>
        </a:p>
      </dgm:t>
    </dgm:pt>
    <dgm:pt modelId="{4893ADB0-BF9B-461A-93F2-AE98F98C334E}" type="sibTrans" cxnId="{83996804-AFB8-4CFA-AAC3-50EEE5B23EEC}">
      <dgm:prSet/>
      <dgm:spPr/>
      <dgm:t>
        <a:bodyPr/>
        <a:lstStyle/>
        <a:p>
          <a:endParaRPr lang="id-ID"/>
        </a:p>
      </dgm:t>
    </dgm:pt>
    <dgm:pt modelId="{1D578CEA-BDF3-4A7F-BB14-D69AA990B7B9}">
      <dgm:prSet/>
      <dgm:spPr/>
      <dgm:t>
        <a:bodyPr/>
        <a:lstStyle/>
        <a:p>
          <a:r>
            <a:rPr lang="id-ID" b="1" dirty="0" smtClean="0">
              <a:solidFill>
                <a:srgbClr val="002060"/>
              </a:solidFill>
            </a:rPr>
            <a:t>Penyederhanaan </a:t>
          </a:r>
          <a:r>
            <a:rPr lang="id-ID" b="1" dirty="0">
              <a:solidFill>
                <a:srgbClr val="002060"/>
              </a:solidFill>
            </a:rPr>
            <a:t>prosedur kepabeanan;</a:t>
          </a:r>
          <a:endParaRPr lang="en-US" b="1" dirty="0">
            <a:solidFill>
              <a:srgbClr val="002060"/>
            </a:solidFill>
            <a:latin typeface="Berlin Sans FB" pitchFamily="34" charset="0"/>
          </a:endParaRPr>
        </a:p>
      </dgm:t>
    </dgm:pt>
    <dgm:pt modelId="{13BD6F28-A913-4EAC-B95C-11A3EED29433}" type="parTrans" cxnId="{1C5991F3-54C2-4129-ABC3-AD9A6F94AC6B}">
      <dgm:prSet/>
      <dgm:spPr/>
      <dgm:t>
        <a:bodyPr/>
        <a:lstStyle/>
        <a:p>
          <a:endParaRPr lang="id-ID"/>
        </a:p>
      </dgm:t>
    </dgm:pt>
    <dgm:pt modelId="{ED51EBD4-0A04-496A-A77E-3912AB22BD1C}" type="sibTrans" cxnId="{1C5991F3-54C2-4129-ABC3-AD9A6F94AC6B}">
      <dgm:prSet/>
      <dgm:spPr/>
      <dgm:t>
        <a:bodyPr/>
        <a:lstStyle/>
        <a:p>
          <a:endParaRPr lang="id-ID"/>
        </a:p>
      </dgm:t>
    </dgm:pt>
    <dgm:pt modelId="{C137C68B-FECE-48DB-8647-54702ACF03AE}">
      <dgm:prSet/>
      <dgm:spPr/>
      <dgm:t>
        <a:bodyPr/>
        <a:lstStyle/>
        <a:p>
          <a:r>
            <a:rPr lang="en-US" b="1" dirty="0" err="1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P</a:t>
          </a:r>
          <a:r>
            <a:rPr lang="en-US" b="1" dirty="0" err="1" smtClean="0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elayanan</a:t>
          </a:r>
          <a:r>
            <a:rPr lang="en-US" b="1" dirty="0" smtClean="0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  </a:t>
          </a:r>
          <a:r>
            <a:rPr lang="en-US" b="1" dirty="0" err="1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khusus</a:t>
          </a:r>
          <a:r>
            <a:rPr lang="en-US" b="1" dirty="0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  </a:t>
          </a:r>
          <a:r>
            <a:rPr lang="en-US" b="1" dirty="0" err="1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dalam</a:t>
          </a:r>
          <a:r>
            <a:rPr lang="en-US" b="1" dirty="0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  </a:t>
          </a:r>
          <a:r>
            <a:rPr lang="en-US" b="1" dirty="0" err="1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hal</a:t>
          </a:r>
          <a:r>
            <a:rPr lang="en-US" b="1" dirty="0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 </a:t>
          </a:r>
          <a:r>
            <a:rPr lang="en-US" b="1" dirty="0" err="1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terjadi</a:t>
          </a:r>
          <a:r>
            <a:rPr lang="en-US" b="1" dirty="0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 </a:t>
          </a:r>
          <a:r>
            <a:rPr lang="en-US" b="1" dirty="0" err="1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gangguan</a:t>
          </a:r>
          <a:r>
            <a:rPr lang="en-US" b="1" dirty="0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 </a:t>
          </a:r>
          <a:r>
            <a:rPr lang="en-US" b="1" dirty="0" err="1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terhadap</a:t>
          </a:r>
          <a:r>
            <a:rPr lang="en-US" b="1" dirty="0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  </a:t>
          </a:r>
          <a:r>
            <a:rPr lang="en-US" b="1" dirty="0" err="1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pergerakan</a:t>
          </a:r>
          <a:r>
            <a:rPr lang="en-US" b="1" dirty="0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 </a:t>
          </a:r>
          <a:r>
            <a:rPr lang="en-US" b="1" dirty="0" err="1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pasokan</a:t>
          </a:r>
          <a:r>
            <a:rPr lang="en-US" b="1" dirty="0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 </a:t>
          </a:r>
          <a:r>
            <a:rPr lang="en-US" b="1" dirty="0" err="1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logisti</a:t>
          </a:r>
          <a:r>
            <a:rPr lang="id-ID" b="1" dirty="0" err="1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k</a:t>
          </a:r>
          <a:r>
            <a:rPr lang="id-ID" b="1" dirty="0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;</a:t>
          </a:r>
        </a:p>
      </dgm:t>
    </dgm:pt>
    <dgm:pt modelId="{BE2534D8-89C2-485E-8168-F6C50E394B45}" type="parTrans" cxnId="{CB55493A-494F-4445-B2AA-4E91A9E6B3D7}">
      <dgm:prSet/>
      <dgm:spPr/>
      <dgm:t>
        <a:bodyPr/>
        <a:lstStyle/>
        <a:p>
          <a:endParaRPr lang="id-ID"/>
        </a:p>
      </dgm:t>
    </dgm:pt>
    <dgm:pt modelId="{A1B4A65E-B6F8-4BA8-B1E0-EC3B870B8A27}" type="sibTrans" cxnId="{CB55493A-494F-4445-B2AA-4E91A9E6B3D7}">
      <dgm:prSet/>
      <dgm:spPr/>
      <dgm:t>
        <a:bodyPr/>
        <a:lstStyle/>
        <a:p>
          <a:endParaRPr lang="id-ID"/>
        </a:p>
      </dgm:t>
    </dgm:pt>
    <dgm:pt modelId="{73BC3FD3-241A-47C4-9815-7ADC63224AB6}">
      <dgm:prSet/>
      <dgm:spPr/>
      <dgm:t>
        <a:bodyPr/>
        <a:lstStyle/>
        <a:p>
          <a:r>
            <a:rPr lang="en-US" b="1" dirty="0" err="1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P</a:t>
          </a:r>
          <a:r>
            <a:rPr lang="en-US" b="1" dirty="0" err="1" smtClean="0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emberitahuan</a:t>
          </a:r>
          <a:r>
            <a:rPr lang="en-US" b="1" dirty="0" smtClean="0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 </a:t>
          </a:r>
          <a:r>
            <a:rPr lang="en-US" b="1" dirty="0" err="1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pendahuluan</a:t>
          </a:r>
          <a:r>
            <a:rPr lang="en-US" b="1" dirty="0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 (</a:t>
          </a:r>
          <a:r>
            <a:rPr lang="en-US" b="1" i="1" dirty="0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pre-notification</a:t>
          </a:r>
          <a:r>
            <a:rPr lang="en-US" b="1" dirty="0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)</a:t>
          </a:r>
          <a:r>
            <a:rPr lang="id-ID" b="1" dirty="0">
              <a:solidFill>
                <a:srgbClr val="002060"/>
              </a:solidFill>
              <a:latin typeface="+mn-lt"/>
              <a:ea typeface="Arial" charset="0"/>
              <a:cs typeface="Arial" charset="0"/>
            </a:rPr>
            <a:t>;</a:t>
          </a:r>
          <a:endParaRPr lang="en-US" b="1" dirty="0">
            <a:solidFill>
              <a:srgbClr val="002060"/>
            </a:solidFill>
            <a:latin typeface="+mn-lt"/>
            <a:ea typeface="Arial" charset="0"/>
            <a:cs typeface="Arial" charset="0"/>
          </a:endParaRPr>
        </a:p>
      </dgm:t>
    </dgm:pt>
    <dgm:pt modelId="{8A8E7250-695D-411D-BC53-712DCCF155C8}" type="parTrans" cxnId="{D7783909-E0E8-4D2E-B00D-4A4FC6353E9F}">
      <dgm:prSet/>
      <dgm:spPr/>
      <dgm:t>
        <a:bodyPr/>
        <a:lstStyle/>
        <a:p>
          <a:endParaRPr lang="id-ID"/>
        </a:p>
      </dgm:t>
    </dgm:pt>
    <dgm:pt modelId="{047FCFFA-24D4-425D-85E3-DD0FDB1CF4B9}" type="sibTrans" cxnId="{D7783909-E0E8-4D2E-B00D-4A4FC6353E9F}">
      <dgm:prSet/>
      <dgm:spPr/>
      <dgm:t>
        <a:bodyPr/>
        <a:lstStyle/>
        <a:p>
          <a:endParaRPr lang="id-ID"/>
        </a:p>
      </dgm:t>
    </dgm:pt>
    <dgm:pt modelId="{B5D09487-BDB1-4136-A15B-CAA8CF5154C7}">
      <dgm:prSet/>
      <dgm:spPr/>
      <dgm:t>
        <a:bodyPr/>
        <a:lstStyle/>
        <a:p>
          <a:r>
            <a:rPr lang="en-US" b="1" dirty="0" err="1">
              <a:solidFill>
                <a:srgbClr val="002060"/>
              </a:solidFill>
            </a:rPr>
            <a:t>J</a:t>
          </a:r>
          <a:r>
            <a:rPr lang="en-US" b="1" dirty="0" err="1" smtClean="0">
              <a:solidFill>
                <a:srgbClr val="002060"/>
              </a:solidFill>
            </a:rPr>
            <a:t>aminan</a:t>
          </a:r>
          <a:r>
            <a:rPr lang="en-US" b="1" dirty="0" smtClean="0">
              <a:solidFill>
                <a:srgbClr val="002060"/>
              </a:solidFill>
            </a:rPr>
            <a:t> </a:t>
          </a:r>
          <a:r>
            <a:rPr lang="en-US" b="1" dirty="0" err="1">
              <a:solidFill>
                <a:srgbClr val="002060"/>
              </a:solidFill>
            </a:rPr>
            <a:t>perusahaan</a:t>
          </a:r>
          <a:r>
            <a:rPr lang="en-US" b="1" dirty="0">
              <a:solidFill>
                <a:srgbClr val="002060"/>
              </a:solidFill>
            </a:rPr>
            <a:t> (</a:t>
          </a:r>
          <a:r>
            <a:rPr lang="id-ID" b="1" i="1" dirty="0">
              <a:solidFill>
                <a:srgbClr val="002060"/>
              </a:solidFill>
            </a:rPr>
            <a:t>C</a:t>
          </a:r>
          <a:r>
            <a:rPr lang="en-US" b="1" i="1" dirty="0" err="1">
              <a:solidFill>
                <a:srgbClr val="002060"/>
              </a:solidFill>
            </a:rPr>
            <a:t>orporate</a:t>
          </a:r>
          <a:r>
            <a:rPr lang="en-US" b="1" i="1" dirty="0">
              <a:solidFill>
                <a:srgbClr val="002060"/>
              </a:solidFill>
            </a:rPr>
            <a:t> </a:t>
          </a:r>
          <a:r>
            <a:rPr lang="id-ID" b="1" i="1" dirty="0" err="1">
              <a:solidFill>
                <a:srgbClr val="002060"/>
              </a:solidFill>
            </a:rPr>
            <a:t>G</a:t>
          </a:r>
          <a:r>
            <a:rPr lang="en-US" b="1" i="1" dirty="0" err="1">
              <a:solidFill>
                <a:srgbClr val="002060"/>
              </a:solidFill>
            </a:rPr>
            <a:t>uarantee</a:t>
          </a:r>
          <a:r>
            <a:rPr lang="en-US" b="1" dirty="0">
              <a:solidFill>
                <a:srgbClr val="002060"/>
              </a:solidFill>
            </a:rPr>
            <a:t>)</a:t>
          </a:r>
          <a:r>
            <a:rPr lang="id-ID" b="1" dirty="0">
              <a:solidFill>
                <a:srgbClr val="002060"/>
              </a:solidFill>
            </a:rPr>
            <a:t>;</a:t>
          </a:r>
          <a:endParaRPr lang="en-US" b="1" dirty="0">
            <a:solidFill>
              <a:srgbClr val="002060"/>
            </a:solidFill>
            <a:latin typeface="Berlin Sans FB" pitchFamily="34" charset="0"/>
          </a:endParaRPr>
        </a:p>
      </dgm:t>
    </dgm:pt>
    <dgm:pt modelId="{EC1E9D69-8D0D-4C97-A12C-581595CA1C61}" type="parTrans" cxnId="{92825E01-24C4-42AB-9E0D-8700B6702181}">
      <dgm:prSet/>
      <dgm:spPr/>
      <dgm:t>
        <a:bodyPr/>
        <a:lstStyle/>
        <a:p>
          <a:endParaRPr lang="id-ID"/>
        </a:p>
      </dgm:t>
    </dgm:pt>
    <dgm:pt modelId="{C8E1F73D-8BC4-4211-AFD7-4B25194545FA}" type="sibTrans" cxnId="{92825E01-24C4-42AB-9E0D-8700B6702181}">
      <dgm:prSet/>
      <dgm:spPr/>
      <dgm:t>
        <a:bodyPr/>
        <a:lstStyle/>
        <a:p>
          <a:endParaRPr lang="id-ID"/>
        </a:p>
      </dgm:t>
    </dgm:pt>
    <dgm:pt modelId="{2D924C14-2E67-4E9F-B7F9-2115FC987D98}">
      <dgm:prSet/>
      <dgm:spPr/>
      <dgm:t>
        <a:bodyPr/>
        <a:lstStyle/>
        <a:p>
          <a:r>
            <a:rPr lang="en-US" b="1" dirty="0" err="1">
              <a:solidFill>
                <a:srgbClr val="002060"/>
              </a:solidFill>
              <a:latin typeface="+mn-lt"/>
            </a:rPr>
            <a:t>K</a:t>
          </a:r>
          <a:r>
            <a:rPr lang="en-US" b="1" dirty="0" err="1" smtClean="0">
              <a:solidFill>
                <a:srgbClr val="002060"/>
              </a:solidFill>
              <a:latin typeface="+mn-lt"/>
            </a:rPr>
            <a:t>emudahan</a:t>
          </a:r>
          <a:r>
            <a:rPr lang="en-US" b="1" dirty="0" smtClean="0">
              <a:solidFill>
                <a:srgbClr val="002060"/>
              </a:solidFill>
              <a:latin typeface="+mn-lt"/>
            </a:rPr>
            <a:t> </a:t>
          </a:r>
          <a:r>
            <a:rPr lang="en-US" b="1" dirty="0" err="1">
              <a:solidFill>
                <a:srgbClr val="002060"/>
              </a:solidFill>
              <a:latin typeface="+mn-lt"/>
            </a:rPr>
            <a:t>pembayaran</a:t>
          </a:r>
          <a:r>
            <a:rPr lang="en-US" b="1" dirty="0">
              <a:solidFill>
                <a:srgbClr val="002060"/>
              </a:solidFill>
              <a:latin typeface="+mn-lt"/>
            </a:rPr>
            <a:t> </a:t>
          </a:r>
          <a:r>
            <a:rPr lang="id-ID" b="1" dirty="0">
              <a:solidFill>
                <a:srgbClr val="002060"/>
              </a:solidFill>
              <a:latin typeface="+mn-lt"/>
            </a:rPr>
            <a:t>atas penyelesaian </a:t>
          </a:r>
          <a:r>
            <a:rPr lang="en-US" b="1" dirty="0" err="1">
              <a:solidFill>
                <a:srgbClr val="002060"/>
              </a:solidFill>
              <a:latin typeface="+mn-lt"/>
            </a:rPr>
            <a:t>kewajiban</a:t>
          </a:r>
          <a:r>
            <a:rPr lang="en-US" b="1" dirty="0">
              <a:solidFill>
                <a:srgbClr val="002060"/>
              </a:solidFill>
              <a:latin typeface="+mn-lt"/>
            </a:rPr>
            <a:t> </a:t>
          </a:r>
          <a:r>
            <a:rPr lang="en-US" b="1" dirty="0" err="1">
              <a:solidFill>
                <a:srgbClr val="002060"/>
              </a:solidFill>
              <a:latin typeface="+mn-lt"/>
            </a:rPr>
            <a:t>kepabeanan</a:t>
          </a:r>
          <a:r>
            <a:rPr lang="id-ID" b="1" dirty="0">
              <a:solidFill>
                <a:srgbClr val="002060"/>
              </a:solidFill>
              <a:latin typeface="+mn-lt"/>
            </a:rPr>
            <a:t> dalam bentuk berkala;</a:t>
          </a:r>
          <a:endParaRPr lang="en-US" b="1" dirty="0">
            <a:solidFill>
              <a:srgbClr val="002060"/>
            </a:solidFill>
            <a:latin typeface="+mn-lt"/>
          </a:endParaRPr>
        </a:p>
      </dgm:t>
    </dgm:pt>
    <dgm:pt modelId="{35C1E8C7-960E-452C-B671-63D15BEC077F}" type="parTrans" cxnId="{1BA6F99E-9AD9-441F-9CDB-161A08F6E7E3}">
      <dgm:prSet/>
      <dgm:spPr/>
      <dgm:t>
        <a:bodyPr/>
        <a:lstStyle/>
        <a:p>
          <a:endParaRPr lang="id-ID"/>
        </a:p>
      </dgm:t>
    </dgm:pt>
    <dgm:pt modelId="{0D347DE5-1EBF-48E6-9888-69C3EC871C01}" type="sibTrans" cxnId="{1BA6F99E-9AD9-441F-9CDB-161A08F6E7E3}">
      <dgm:prSet/>
      <dgm:spPr/>
      <dgm:t>
        <a:bodyPr/>
        <a:lstStyle/>
        <a:p>
          <a:endParaRPr lang="id-ID"/>
        </a:p>
      </dgm:t>
    </dgm:pt>
    <dgm:pt modelId="{9282A013-E8F7-407B-9832-88AFABCA8227}">
      <dgm:prSet/>
      <dgm:spPr/>
      <dgm:t>
        <a:bodyPr/>
        <a:lstStyle/>
        <a:p>
          <a:r>
            <a:rPr lang="en-US" b="1" dirty="0" err="1">
              <a:solidFill>
                <a:srgbClr val="002060"/>
              </a:solidFill>
              <a:latin typeface="+mn-lt"/>
            </a:rPr>
            <a:t>K</a:t>
          </a:r>
          <a:r>
            <a:rPr lang="en-US" b="1" dirty="0" err="1" smtClean="0">
              <a:solidFill>
                <a:srgbClr val="002060"/>
              </a:solidFill>
              <a:latin typeface="+mn-lt"/>
            </a:rPr>
            <a:t>emudahan</a:t>
          </a:r>
          <a:r>
            <a:rPr lang="en-US" b="1" dirty="0" smtClean="0">
              <a:solidFill>
                <a:srgbClr val="002060"/>
              </a:solidFill>
              <a:latin typeface="+mn-lt"/>
            </a:rPr>
            <a:t> </a:t>
          </a:r>
          <a:r>
            <a:rPr lang="en-US" b="1" dirty="0" err="1">
              <a:solidFill>
                <a:srgbClr val="002060"/>
              </a:solidFill>
              <a:latin typeface="+mn-lt"/>
            </a:rPr>
            <a:t>pembongkaran</a:t>
          </a:r>
          <a:r>
            <a:rPr lang="en-US" b="1" dirty="0">
              <a:solidFill>
                <a:srgbClr val="002060"/>
              </a:solidFill>
              <a:latin typeface="+mn-lt"/>
            </a:rPr>
            <a:t> </a:t>
          </a:r>
          <a:r>
            <a:rPr lang="en-US" b="1" dirty="0" err="1">
              <a:solidFill>
                <a:srgbClr val="002060"/>
              </a:solidFill>
              <a:latin typeface="+mn-lt"/>
            </a:rPr>
            <a:t>dan</a:t>
          </a:r>
          <a:r>
            <a:rPr lang="en-US" b="1" dirty="0">
              <a:solidFill>
                <a:srgbClr val="002060"/>
              </a:solidFill>
              <a:latin typeface="+mn-lt"/>
            </a:rPr>
            <a:t>/</a:t>
          </a:r>
          <a:r>
            <a:rPr lang="en-US" b="1" dirty="0" err="1">
              <a:solidFill>
                <a:srgbClr val="002060"/>
              </a:solidFill>
              <a:latin typeface="+mn-lt"/>
            </a:rPr>
            <a:t>atau</a:t>
          </a:r>
          <a:r>
            <a:rPr lang="en-US" b="1" dirty="0">
              <a:solidFill>
                <a:srgbClr val="002060"/>
              </a:solidFill>
              <a:latin typeface="+mn-lt"/>
            </a:rPr>
            <a:t> </a:t>
          </a:r>
          <a:r>
            <a:rPr lang="en-US" b="1" dirty="0" err="1">
              <a:solidFill>
                <a:srgbClr val="002060"/>
              </a:solidFill>
              <a:latin typeface="+mn-lt"/>
            </a:rPr>
            <a:t>pemuatan</a:t>
          </a:r>
          <a:r>
            <a:rPr lang="id-ID" b="1" dirty="0">
              <a:solidFill>
                <a:srgbClr val="002060"/>
              </a:solidFill>
              <a:latin typeface="+mn-lt"/>
            </a:rPr>
            <a:t>;</a:t>
          </a:r>
          <a:endParaRPr lang="en-US" b="1" dirty="0">
            <a:solidFill>
              <a:srgbClr val="002060"/>
            </a:solidFill>
            <a:latin typeface="+mn-lt"/>
          </a:endParaRPr>
        </a:p>
      </dgm:t>
    </dgm:pt>
    <dgm:pt modelId="{DD28C168-9516-42B9-9C3E-F2D4C5071931}" type="parTrans" cxnId="{C2BDB25F-C54F-4945-8A5C-7FF91DBDEC3A}">
      <dgm:prSet/>
      <dgm:spPr/>
      <dgm:t>
        <a:bodyPr/>
        <a:lstStyle/>
        <a:p>
          <a:endParaRPr lang="id-ID"/>
        </a:p>
      </dgm:t>
    </dgm:pt>
    <dgm:pt modelId="{61D39823-8478-4B40-BEE5-AED288E93E63}" type="sibTrans" cxnId="{C2BDB25F-C54F-4945-8A5C-7FF91DBDEC3A}">
      <dgm:prSet/>
      <dgm:spPr/>
      <dgm:t>
        <a:bodyPr/>
        <a:lstStyle/>
        <a:p>
          <a:endParaRPr lang="id-ID"/>
        </a:p>
      </dgm:t>
    </dgm:pt>
    <dgm:pt modelId="{27DA005A-8B47-4221-A9A5-C547FFB322F7}">
      <dgm:prSet/>
      <dgm:spPr/>
      <dgm:t>
        <a:bodyPr/>
        <a:lstStyle/>
        <a:p>
          <a:r>
            <a:rPr lang="en-US" b="1" dirty="0" err="1">
              <a:solidFill>
                <a:srgbClr val="002060"/>
              </a:solidFill>
            </a:rPr>
            <a:t>P</a:t>
          </a:r>
          <a:r>
            <a:rPr lang="en-US" b="1" dirty="0" err="1" smtClean="0">
              <a:solidFill>
                <a:srgbClr val="002060"/>
              </a:solidFill>
            </a:rPr>
            <a:t>rioritas</a:t>
          </a:r>
          <a:r>
            <a:rPr lang="en-US" b="1" dirty="0" smtClean="0">
              <a:solidFill>
                <a:srgbClr val="002060"/>
              </a:solidFill>
            </a:rPr>
            <a:t> </a:t>
          </a:r>
          <a:r>
            <a:rPr lang="en-US" b="1" dirty="0" err="1">
              <a:solidFill>
                <a:srgbClr val="002060"/>
              </a:solidFill>
            </a:rPr>
            <a:t>untuk</a:t>
          </a:r>
          <a:r>
            <a:rPr lang="en-US" b="1" dirty="0">
              <a:solidFill>
                <a:srgbClr val="002060"/>
              </a:solidFill>
            </a:rPr>
            <a:t> </a:t>
          </a:r>
          <a:r>
            <a:rPr lang="en-US" b="1" dirty="0" err="1">
              <a:solidFill>
                <a:srgbClr val="002060"/>
              </a:solidFill>
            </a:rPr>
            <a:t>diikutsertakan</a:t>
          </a:r>
          <a:r>
            <a:rPr lang="en-US" b="1" dirty="0">
              <a:solidFill>
                <a:srgbClr val="002060"/>
              </a:solidFill>
            </a:rPr>
            <a:t> </a:t>
          </a:r>
          <a:r>
            <a:rPr lang="en-US" b="1" dirty="0" err="1">
              <a:solidFill>
                <a:srgbClr val="002060"/>
              </a:solidFill>
            </a:rPr>
            <a:t>dalam</a:t>
          </a:r>
          <a:r>
            <a:rPr lang="en-US" b="1" dirty="0">
              <a:solidFill>
                <a:srgbClr val="002060"/>
              </a:solidFill>
            </a:rPr>
            <a:t> program-program </a:t>
          </a:r>
          <a:r>
            <a:rPr lang="en-US" b="1" dirty="0" err="1">
              <a:solidFill>
                <a:srgbClr val="002060"/>
              </a:solidFill>
            </a:rPr>
            <a:t>baru</a:t>
          </a:r>
          <a:r>
            <a:rPr lang="en-US" b="1" dirty="0">
              <a:solidFill>
                <a:srgbClr val="002060"/>
              </a:solidFill>
            </a:rPr>
            <a:t> yang </a:t>
          </a:r>
          <a:r>
            <a:rPr lang="en-US" b="1" dirty="0" err="1">
              <a:solidFill>
                <a:srgbClr val="002060"/>
              </a:solidFill>
            </a:rPr>
            <a:t>dirintis</a:t>
          </a:r>
          <a:r>
            <a:rPr lang="en-US" b="1" dirty="0">
              <a:solidFill>
                <a:srgbClr val="002060"/>
              </a:solidFill>
            </a:rPr>
            <a:t> </a:t>
          </a:r>
          <a:r>
            <a:rPr lang="en-US" b="1" dirty="0" err="1">
              <a:solidFill>
                <a:srgbClr val="002060"/>
              </a:solidFill>
            </a:rPr>
            <a:t>oleh</a:t>
          </a:r>
          <a:r>
            <a:rPr lang="en-US" b="1" dirty="0">
              <a:solidFill>
                <a:srgbClr val="002060"/>
              </a:solidFill>
            </a:rPr>
            <a:t> </a:t>
          </a:r>
          <a:r>
            <a:rPr lang="en-US" b="1" dirty="0" smtClean="0">
              <a:solidFill>
                <a:srgbClr val="002060"/>
              </a:solidFill>
            </a:rPr>
            <a:t>DJBC</a:t>
          </a:r>
          <a:r>
            <a:rPr lang="id-ID" b="1" dirty="0" smtClean="0">
              <a:solidFill>
                <a:srgbClr val="002060"/>
              </a:solidFill>
            </a:rPr>
            <a:t>;</a:t>
          </a:r>
          <a:endParaRPr lang="en-US" b="1" dirty="0">
            <a:solidFill>
              <a:srgbClr val="002060"/>
            </a:solidFill>
            <a:latin typeface="Berlin Sans FB" pitchFamily="34" charset="0"/>
          </a:endParaRPr>
        </a:p>
      </dgm:t>
    </dgm:pt>
    <dgm:pt modelId="{819FEE8B-EAE7-453F-8BD5-919C25C99B27}" type="parTrans" cxnId="{3B1F9E8C-B6A0-4ED2-B629-B4D24C668B22}">
      <dgm:prSet/>
      <dgm:spPr/>
      <dgm:t>
        <a:bodyPr/>
        <a:lstStyle/>
        <a:p>
          <a:endParaRPr lang="id-ID"/>
        </a:p>
      </dgm:t>
    </dgm:pt>
    <dgm:pt modelId="{F150DD74-52F5-4391-B44C-3E9DD4FCEFC5}" type="sibTrans" cxnId="{3B1F9E8C-B6A0-4ED2-B629-B4D24C668B22}">
      <dgm:prSet/>
      <dgm:spPr/>
      <dgm:t>
        <a:bodyPr/>
        <a:lstStyle/>
        <a:p>
          <a:endParaRPr lang="id-ID"/>
        </a:p>
      </dgm:t>
    </dgm:pt>
    <dgm:pt modelId="{E134DB69-9F2B-4D3A-BE29-C88BA0C98DF1}">
      <dgm:prSet/>
      <dgm:spPr/>
      <dgm:t>
        <a:bodyPr/>
        <a:lstStyle/>
        <a:p>
          <a:r>
            <a:rPr lang="en-US" b="1" dirty="0">
              <a:solidFill>
                <a:srgbClr val="002060"/>
              </a:solidFill>
            </a:rPr>
            <a:t>Client </a:t>
          </a:r>
          <a:r>
            <a:rPr lang="en-US" b="1" dirty="0" smtClean="0">
              <a:solidFill>
                <a:srgbClr val="002060"/>
              </a:solidFill>
            </a:rPr>
            <a:t>Manager</a:t>
          </a:r>
          <a:endParaRPr lang="en-US" b="1" dirty="0">
            <a:solidFill>
              <a:srgbClr val="002060"/>
            </a:solidFill>
            <a:latin typeface="Berlin Sans FB" pitchFamily="34" charset="0"/>
          </a:endParaRPr>
        </a:p>
      </dgm:t>
    </dgm:pt>
    <dgm:pt modelId="{8A0AE357-0FC1-4D06-9B09-37B41FB804CF}" type="parTrans" cxnId="{A77AC454-AEFC-44F0-AC44-D61BC3E5ACF8}">
      <dgm:prSet/>
      <dgm:spPr/>
      <dgm:t>
        <a:bodyPr/>
        <a:lstStyle/>
        <a:p>
          <a:endParaRPr lang="id-ID"/>
        </a:p>
      </dgm:t>
    </dgm:pt>
    <dgm:pt modelId="{9D289E27-DF44-4063-AB94-23AA8BA12126}" type="sibTrans" cxnId="{A77AC454-AEFC-44F0-AC44-D61BC3E5ACF8}">
      <dgm:prSet/>
      <dgm:spPr/>
      <dgm:t>
        <a:bodyPr/>
        <a:lstStyle/>
        <a:p>
          <a:endParaRPr lang="id-ID"/>
        </a:p>
      </dgm:t>
    </dgm:pt>
    <dgm:pt modelId="{B298848D-DCE8-43F9-B2B6-344DFCE30EFC}">
      <dgm:prSet/>
      <dgm:spPr/>
      <dgm:t>
        <a:bodyPr/>
        <a:lstStyle/>
        <a:p>
          <a:r>
            <a:rPr lang="en-US" b="1" dirty="0" err="1">
              <a:solidFill>
                <a:srgbClr val="002060"/>
              </a:solidFill>
            </a:rPr>
            <a:t>L</a:t>
          </a:r>
          <a:r>
            <a:rPr lang="en-US" b="1" dirty="0" err="1" smtClean="0">
              <a:solidFill>
                <a:srgbClr val="002060"/>
              </a:solidFill>
            </a:rPr>
            <a:t>ayanan</a:t>
          </a:r>
          <a:r>
            <a:rPr lang="en-US" b="1" dirty="0" smtClean="0">
              <a:solidFill>
                <a:srgbClr val="002060"/>
              </a:solidFill>
            </a:rPr>
            <a:t> </a:t>
          </a:r>
          <a:r>
            <a:rPr lang="en-US" b="1" dirty="0" err="1">
              <a:solidFill>
                <a:srgbClr val="002060"/>
              </a:solidFill>
            </a:rPr>
            <a:t>penyelesaian</a:t>
          </a:r>
          <a:r>
            <a:rPr lang="en-US" b="1" dirty="0">
              <a:solidFill>
                <a:srgbClr val="002060"/>
              </a:solidFill>
            </a:rPr>
            <a:t> </a:t>
          </a:r>
          <a:r>
            <a:rPr lang="en-US" b="1" dirty="0" err="1">
              <a:solidFill>
                <a:srgbClr val="002060"/>
              </a:solidFill>
            </a:rPr>
            <a:t>kepabeanan</a:t>
          </a:r>
          <a:r>
            <a:rPr lang="en-US" b="1" dirty="0">
              <a:solidFill>
                <a:srgbClr val="002060"/>
              </a:solidFill>
            </a:rPr>
            <a:t> di </a:t>
          </a:r>
          <a:r>
            <a:rPr lang="en-US" b="1" dirty="0" err="1">
              <a:solidFill>
                <a:srgbClr val="002060"/>
              </a:solidFill>
            </a:rPr>
            <a:t>luar</a:t>
          </a:r>
          <a:r>
            <a:rPr lang="en-US" b="1" dirty="0">
              <a:solidFill>
                <a:srgbClr val="002060"/>
              </a:solidFill>
            </a:rPr>
            <a:t> jam </a:t>
          </a:r>
          <a:r>
            <a:rPr lang="en-US" b="1" dirty="0" err="1">
              <a:solidFill>
                <a:srgbClr val="002060"/>
              </a:solidFill>
            </a:rPr>
            <a:t>kerja</a:t>
          </a:r>
          <a:r>
            <a:rPr lang="en-US" b="1" dirty="0">
              <a:solidFill>
                <a:srgbClr val="002060"/>
              </a:solidFill>
            </a:rPr>
            <a:t> Kantor </a:t>
          </a:r>
          <a:r>
            <a:rPr lang="en-US" b="1" dirty="0" err="1">
              <a:solidFill>
                <a:srgbClr val="002060"/>
              </a:solidFill>
            </a:rPr>
            <a:t>Pabean</a:t>
          </a:r>
          <a:r>
            <a:rPr lang="id-ID" b="1" dirty="0">
              <a:solidFill>
                <a:srgbClr val="002060"/>
              </a:solidFill>
            </a:rPr>
            <a:t>.</a:t>
          </a:r>
          <a:endParaRPr lang="en-US" b="1" dirty="0">
            <a:solidFill>
              <a:srgbClr val="002060"/>
            </a:solidFill>
            <a:latin typeface="Berlin Sans FB" pitchFamily="34" charset="0"/>
          </a:endParaRPr>
        </a:p>
      </dgm:t>
    </dgm:pt>
    <dgm:pt modelId="{2CFC5CDC-DC8A-4F30-A5F5-CDD37E356E8F}" type="parTrans" cxnId="{98534E97-2F19-4F50-98A6-353C1E69EAF5}">
      <dgm:prSet/>
      <dgm:spPr/>
      <dgm:t>
        <a:bodyPr/>
        <a:lstStyle/>
        <a:p>
          <a:endParaRPr lang="id-ID"/>
        </a:p>
      </dgm:t>
    </dgm:pt>
    <dgm:pt modelId="{AA26E748-171C-447D-911F-68DCDC3EB3C9}" type="sibTrans" cxnId="{98534E97-2F19-4F50-98A6-353C1E69EAF5}">
      <dgm:prSet/>
      <dgm:spPr/>
      <dgm:t>
        <a:bodyPr/>
        <a:lstStyle/>
        <a:p>
          <a:endParaRPr lang="id-ID"/>
        </a:p>
      </dgm:t>
    </dgm:pt>
    <dgm:pt modelId="{E0EE3D54-4152-4B72-959E-2C4FA1EC7E8A}" type="pres">
      <dgm:prSet presAssocID="{7BC0E872-ADAB-4D1B-AD5A-AB25D78309B6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084FDB6-7115-40A8-BDE2-E9D3C9F55F76}" type="pres">
      <dgm:prSet presAssocID="{5B95FDEC-8304-4CDA-8DC1-EAB9EF07D12A}" presName="node" presStyleLbl="node1" presStyleIdx="0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763FD15-B0D6-4475-B6C9-7D5C64E4787D}" type="pres">
      <dgm:prSet presAssocID="{4893ADB0-BF9B-461A-93F2-AE98F98C334E}" presName="sibTrans" presStyleCnt="0"/>
      <dgm:spPr/>
    </dgm:pt>
    <dgm:pt modelId="{68E589A0-2606-4936-8A04-675CDACC2115}" type="pres">
      <dgm:prSet presAssocID="{1D578CEA-BDF3-4A7F-BB14-D69AA990B7B9}" presName="node" presStyleLbl="node1" presStyleIdx="1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3B01EF3-A60F-43BF-948A-12EA72057575}" type="pres">
      <dgm:prSet presAssocID="{ED51EBD4-0A04-496A-A77E-3912AB22BD1C}" presName="sibTrans" presStyleCnt="0"/>
      <dgm:spPr/>
    </dgm:pt>
    <dgm:pt modelId="{575EEA73-4D24-49B5-BCDA-9B1A41CE8238}" type="pres">
      <dgm:prSet presAssocID="{C137C68B-FECE-48DB-8647-54702ACF03AE}" presName="node" presStyleLbl="node1" presStyleIdx="2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986D6DC-9F49-48D8-BA52-B10B54A2C3C5}" type="pres">
      <dgm:prSet presAssocID="{A1B4A65E-B6F8-4BA8-B1E0-EC3B870B8A27}" presName="sibTrans" presStyleCnt="0"/>
      <dgm:spPr/>
    </dgm:pt>
    <dgm:pt modelId="{B4B68FAE-B4D5-4952-B305-F575AC917C93}" type="pres">
      <dgm:prSet presAssocID="{73BC3FD3-241A-47C4-9815-7ADC63224AB6}" presName="node" presStyleLbl="node1" presStyleIdx="3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37C8281-577B-4F29-BAC1-93CB24B7F38D}" type="pres">
      <dgm:prSet presAssocID="{047FCFFA-24D4-425D-85E3-DD0FDB1CF4B9}" presName="sibTrans" presStyleCnt="0"/>
      <dgm:spPr/>
    </dgm:pt>
    <dgm:pt modelId="{7CBAD0FD-7D88-4516-A366-5546152A8343}" type="pres">
      <dgm:prSet presAssocID="{B5D09487-BDB1-4136-A15B-CAA8CF5154C7}" presName="node" presStyleLbl="node1" presStyleIdx="4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1FCA95-A87A-4736-A86B-A9CD85B41F9C}" type="pres">
      <dgm:prSet presAssocID="{C8E1F73D-8BC4-4211-AFD7-4B25194545FA}" presName="sibTrans" presStyleCnt="0"/>
      <dgm:spPr/>
    </dgm:pt>
    <dgm:pt modelId="{48E12524-4C36-4090-909E-126DC5EF491C}" type="pres">
      <dgm:prSet presAssocID="{2D924C14-2E67-4E9F-B7F9-2115FC987D98}" presName="node" presStyleLbl="node1" presStyleIdx="5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5C151FB-3FD9-40FF-A4CB-77385F4DA353}" type="pres">
      <dgm:prSet presAssocID="{0D347DE5-1EBF-48E6-9888-69C3EC871C01}" presName="sibTrans" presStyleCnt="0"/>
      <dgm:spPr/>
    </dgm:pt>
    <dgm:pt modelId="{2D3C7986-8DF9-45DB-9A9B-EE7A552CF20D}" type="pres">
      <dgm:prSet presAssocID="{9282A013-E8F7-407B-9832-88AFABCA8227}" presName="node" presStyleLbl="node1" presStyleIdx="6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87BFC89-B398-48A2-8732-AC4A1F54ED68}" type="pres">
      <dgm:prSet presAssocID="{61D39823-8478-4B40-BEE5-AED288E93E63}" presName="sibTrans" presStyleCnt="0"/>
      <dgm:spPr/>
    </dgm:pt>
    <dgm:pt modelId="{7856E9DB-5223-490A-98A7-D53CB2D2061A}" type="pres">
      <dgm:prSet presAssocID="{27DA005A-8B47-4221-A9A5-C547FFB322F7}" presName="node" presStyleLbl="node1" presStyleIdx="7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D22ABBC-B98B-4911-9849-578111FA83C7}" type="pres">
      <dgm:prSet presAssocID="{F150DD74-52F5-4391-B44C-3E9DD4FCEFC5}" presName="sibTrans" presStyleCnt="0"/>
      <dgm:spPr/>
    </dgm:pt>
    <dgm:pt modelId="{1A3660C9-CC55-4F49-832B-0508240492F1}" type="pres">
      <dgm:prSet presAssocID="{E134DB69-9F2B-4D3A-BE29-C88BA0C98DF1}" presName="node" presStyleLbl="node1" presStyleIdx="8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F8BA104-1E52-4D9B-9A32-71864D01F980}" type="pres">
      <dgm:prSet presAssocID="{9D289E27-DF44-4063-AB94-23AA8BA12126}" presName="sibTrans" presStyleCnt="0"/>
      <dgm:spPr/>
    </dgm:pt>
    <dgm:pt modelId="{B49222C5-57F4-408F-8060-EF584ED473F5}" type="pres">
      <dgm:prSet presAssocID="{B298848D-DCE8-43F9-B2B6-344DFCE30EFC}" presName="node" presStyleLbl="node1" presStyleIdx="9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53AE9B0-85BD-2442-8933-0F466CFE1F60}" type="presOf" srcId="{C137C68B-FECE-48DB-8647-54702ACF03AE}" destId="{575EEA73-4D24-49B5-BCDA-9B1A41CE8238}" srcOrd="0" destOrd="0" presId="urn:microsoft.com/office/officeart/2005/8/layout/default"/>
    <dgm:cxn modelId="{D7FB1AD4-F149-434C-967F-E89B738ECC44}" type="presOf" srcId="{9282A013-E8F7-407B-9832-88AFABCA8227}" destId="{2D3C7986-8DF9-45DB-9A9B-EE7A552CF20D}" srcOrd="0" destOrd="0" presId="urn:microsoft.com/office/officeart/2005/8/layout/default"/>
    <dgm:cxn modelId="{8CAA91DA-05BC-B24D-9BE9-D17030D9235E}" type="presOf" srcId="{27DA005A-8B47-4221-A9A5-C547FFB322F7}" destId="{7856E9DB-5223-490A-98A7-D53CB2D2061A}" srcOrd="0" destOrd="0" presId="urn:microsoft.com/office/officeart/2005/8/layout/default"/>
    <dgm:cxn modelId="{CB55493A-494F-4445-B2AA-4E91A9E6B3D7}" srcId="{7BC0E872-ADAB-4D1B-AD5A-AB25D78309B6}" destId="{C137C68B-FECE-48DB-8647-54702ACF03AE}" srcOrd="2" destOrd="0" parTransId="{BE2534D8-89C2-485E-8168-F6C50E394B45}" sibTransId="{A1B4A65E-B6F8-4BA8-B1E0-EC3B870B8A27}"/>
    <dgm:cxn modelId="{83996804-AFB8-4CFA-AAC3-50EEE5B23EEC}" srcId="{7BC0E872-ADAB-4D1B-AD5A-AB25D78309B6}" destId="{5B95FDEC-8304-4CDA-8DC1-EAB9EF07D12A}" srcOrd="0" destOrd="0" parTransId="{3F747D7F-66CA-4325-A395-7A26A9A3E4EA}" sibTransId="{4893ADB0-BF9B-461A-93F2-AE98F98C334E}"/>
    <dgm:cxn modelId="{A77AC454-AEFC-44F0-AC44-D61BC3E5ACF8}" srcId="{7BC0E872-ADAB-4D1B-AD5A-AB25D78309B6}" destId="{E134DB69-9F2B-4D3A-BE29-C88BA0C98DF1}" srcOrd="8" destOrd="0" parTransId="{8A0AE357-0FC1-4D06-9B09-37B41FB804CF}" sibTransId="{9D289E27-DF44-4063-AB94-23AA8BA12126}"/>
    <dgm:cxn modelId="{F81B7F1F-D747-8647-8620-CCDD57A1EB4E}" type="presOf" srcId="{5B95FDEC-8304-4CDA-8DC1-EAB9EF07D12A}" destId="{9084FDB6-7115-40A8-BDE2-E9D3C9F55F76}" srcOrd="0" destOrd="0" presId="urn:microsoft.com/office/officeart/2005/8/layout/default"/>
    <dgm:cxn modelId="{98534E97-2F19-4F50-98A6-353C1E69EAF5}" srcId="{7BC0E872-ADAB-4D1B-AD5A-AB25D78309B6}" destId="{B298848D-DCE8-43F9-B2B6-344DFCE30EFC}" srcOrd="9" destOrd="0" parTransId="{2CFC5CDC-DC8A-4F30-A5F5-CDD37E356E8F}" sibTransId="{AA26E748-171C-447D-911F-68DCDC3EB3C9}"/>
    <dgm:cxn modelId="{C2BDB25F-C54F-4945-8A5C-7FF91DBDEC3A}" srcId="{7BC0E872-ADAB-4D1B-AD5A-AB25D78309B6}" destId="{9282A013-E8F7-407B-9832-88AFABCA8227}" srcOrd="6" destOrd="0" parTransId="{DD28C168-9516-42B9-9C3E-F2D4C5071931}" sibTransId="{61D39823-8478-4B40-BEE5-AED288E93E63}"/>
    <dgm:cxn modelId="{09E1FCD4-011C-B94F-BDE5-9083E2F15AF4}" type="presOf" srcId="{1D578CEA-BDF3-4A7F-BB14-D69AA990B7B9}" destId="{68E589A0-2606-4936-8A04-675CDACC2115}" srcOrd="0" destOrd="0" presId="urn:microsoft.com/office/officeart/2005/8/layout/default"/>
    <dgm:cxn modelId="{1BA6F99E-9AD9-441F-9CDB-161A08F6E7E3}" srcId="{7BC0E872-ADAB-4D1B-AD5A-AB25D78309B6}" destId="{2D924C14-2E67-4E9F-B7F9-2115FC987D98}" srcOrd="5" destOrd="0" parTransId="{35C1E8C7-960E-452C-B671-63D15BEC077F}" sibTransId="{0D347DE5-1EBF-48E6-9888-69C3EC871C01}"/>
    <dgm:cxn modelId="{908C43BD-3476-804E-8CE6-B9AE28DC10B9}" type="presOf" srcId="{7BC0E872-ADAB-4D1B-AD5A-AB25D78309B6}" destId="{E0EE3D54-4152-4B72-959E-2C4FA1EC7E8A}" srcOrd="0" destOrd="0" presId="urn:microsoft.com/office/officeart/2005/8/layout/default"/>
    <dgm:cxn modelId="{8EB2288C-E7EC-0B47-B083-388DD5CAA76D}" type="presOf" srcId="{2D924C14-2E67-4E9F-B7F9-2115FC987D98}" destId="{48E12524-4C36-4090-909E-126DC5EF491C}" srcOrd="0" destOrd="0" presId="urn:microsoft.com/office/officeart/2005/8/layout/default"/>
    <dgm:cxn modelId="{DDC040A2-C1CC-1841-981B-FDC0FF46B85B}" type="presOf" srcId="{B5D09487-BDB1-4136-A15B-CAA8CF5154C7}" destId="{7CBAD0FD-7D88-4516-A366-5546152A8343}" srcOrd="0" destOrd="0" presId="urn:microsoft.com/office/officeart/2005/8/layout/default"/>
    <dgm:cxn modelId="{92825E01-24C4-42AB-9E0D-8700B6702181}" srcId="{7BC0E872-ADAB-4D1B-AD5A-AB25D78309B6}" destId="{B5D09487-BDB1-4136-A15B-CAA8CF5154C7}" srcOrd="4" destOrd="0" parTransId="{EC1E9D69-8D0D-4C97-A12C-581595CA1C61}" sibTransId="{C8E1F73D-8BC4-4211-AFD7-4B25194545FA}"/>
    <dgm:cxn modelId="{D7783909-E0E8-4D2E-B00D-4A4FC6353E9F}" srcId="{7BC0E872-ADAB-4D1B-AD5A-AB25D78309B6}" destId="{73BC3FD3-241A-47C4-9815-7ADC63224AB6}" srcOrd="3" destOrd="0" parTransId="{8A8E7250-695D-411D-BC53-712DCCF155C8}" sibTransId="{047FCFFA-24D4-425D-85E3-DD0FDB1CF4B9}"/>
    <dgm:cxn modelId="{479D18EA-5A70-B140-A559-ADEC8736FAA9}" type="presOf" srcId="{E134DB69-9F2B-4D3A-BE29-C88BA0C98DF1}" destId="{1A3660C9-CC55-4F49-832B-0508240492F1}" srcOrd="0" destOrd="0" presId="urn:microsoft.com/office/officeart/2005/8/layout/default"/>
    <dgm:cxn modelId="{79575A90-E4FF-454A-83A2-168C65974690}" type="presOf" srcId="{73BC3FD3-241A-47C4-9815-7ADC63224AB6}" destId="{B4B68FAE-B4D5-4952-B305-F575AC917C93}" srcOrd="0" destOrd="0" presId="urn:microsoft.com/office/officeart/2005/8/layout/default"/>
    <dgm:cxn modelId="{38666816-231F-7A44-9025-F977E1537F47}" type="presOf" srcId="{B298848D-DCE8-43F9-B2B6-344DFCE30EFC}" destId="{B49222C5-57F4-408F-8060-EF584ED473F5}" srcOrd="0" destOrd="0" presId="urn:microsoft.com/office/officeart/2005/8/layout/default"/>
    <dgm:cxn modelId="{3B1F9E8C-B6A0-4ED2-B629-B4D24C668B22}" srcId="{7BC0E872-ADAB-4D1B-AD5A-AB25D78309B6}" destId="{27DA005A-8B47-4221-A9A5-C547FFB322F7}" srcOrd="7" destOrd="0" parTransId="{819FEE8B-EAE7-453F-8BD5-919C25C99B27}" sibTransId="{F150DD74-52F5-4391-B44C-3E9DD4FCEFC5}"/>
    <dgm:cxn modelId="{1C5991F3-54C2-4129-ABC3-AD9A6F94AC6B}" srcId="{7BC0E872-ADAB-4D1B-AD5A-AB25D78309B6}" destId="{1D578CEA-BDF3-4A7F-BB14-D69AA990B7B9}" srcOrd="1" destOrd="0" parTransId="{13BD6F28-A913-4EAC-B95C-11A3EED29433}" sibTransId="{ED51EBD4-0A04-496A-A77E-3912AB22BD1C}"/>
    <dgm:cxn modelId="{74E9785C-609D-A54B-8538-DA3374125811}" type="presParOf" srcId="{E0EE3D54-4152-4B72-959E-2C4FA1EC7E8A}" destId="{9084FDB6-7115-40A8-BDE2-E9D3C9F55F76}" srcOrd="0" destOrd="0" presId="urn:microsoft.com/office/officeart/2005/8/layout/default"/>
    <dgm:cxn modelId="{49D8E39D-AB48-7246-8122-D1522F3D8B93}" type="presParOf" srcId="{E0EE3D54-4152-4B72-959E-2C4FA1EC7E8A}" destId="{C763FD15-B0D6-4475-B6C9-7D5C64E4787D}" srcOrd="1" destOrd="0" presId="urn:microsoft.com/office/officeart/2005/8/layout/default"/>
    <dgm:cxn modelId="{B67E4735-1E19-6943-A855-5EE8A34B6870}" type="presParOf" srcId="{E0EE3D54-4152-4B72-959E-2C4FA1EC7E8A}" destId="{68E589A0-2606-4936-8A04-675CDACC2115}" srcOrd="2" destOrd="0" presId="urn:microsoft.com/office/officeart/2005/8/layout/default"/>
    <dgm:cxn modelId="{FDE5CEA7-73BB-3548-AA71-0F16B1210CAB}" type="presParOf" srcId="{E0EE3D54-4152-4B72-959E-2C4FA1EC7E8A}" destId="{33B01EF3-A60F-43BF-948A-12EA72057575}" srcOrd="3" destOrd="0" presId="urn:microsoft.com/office/officeart/2005/8/layout/default"/>
    <dgm:cxn modelId="{9ABABF77-05F0-7540-9604-D1148A1B691E}" type="presParOf" srcId="{E0EE3D54-4152-4B72-959E-2C4FA1EC7E8A}" destId="{575EEA73-4D24-49B5-BCDA-9B1A41CE8238}" srcOrd="4" destOrd="0" presId="urn:microsoft.com/office/officeart/2005/8/layout/default"/>
    <dgm:cxn modelId="{2BCF6A07-3AE6-734D-A2F4-3F295833B7E1}" type="presParOf" srcId="{E0EE3D54-4152-4B72-959E-2C4FA1EC7E8A}" destId="{8986D6DC-9F49-48D8-BA52-B10B54A2C3C5}" srcOrd="5" destOrd="0" presId="urn:microsoft.com/office/officeart/2005/8/layout/default"/>
    <dgm:cxn modelId="{AB035825-895A-3C47-AFBA-D899D68BC859}" type="presParOf" srcId="{E0EE3D54-4152-4B72-959E-2C4FA1EC7E8A}" destId="{B4B68FAE-B4D5-4952-B305-F575AC917C93}" srcOrd="6" destOrd="0" presId="urn:microsoft.com/office/officeart/2005/8/layout/default"/>
    <dgm:cxn modelId="{98D0EF31-8BC2-AD48-99CE-CF81F9DA05FC}" type="presParOf" srcId="{E0EE3D54-4152-4B72-959E-2C4FA1EC7E8A}" destId="{937C8281-577B-4F29-BAC1-93CB24B7F38D}" srcOrd="7" destOrd="0" presId="urn:microsoft.com/office/officeart/2005/8/layout/default"/>
    <dgm:cxn modelId="{1514B678-8DAF-FE46-A94D-047696AD52D1}" type="presParOf" srcId="{E0EE3D54-4152-4B72-959E-2C4FA1EC7E8A}" destId="{7CBAD0FD-7D88-4516-A366-5546152A8343}" srcOrd="8" destOrd="0" presId="urn:microsoft.com/office/officeart/2005/8/layout/default"/>
    <dgm:cxn modelId="{48F4E177-E019-4347-8187-32E1083689FB}" type="presParOf" srcId="{E0EE3D54-4152-4B72-959E-2C4FA1EC7E8A}" destId="{8C1FCA95-A87A-4736-A86B-A9CD85B41F9C}" srcOrd="9" destOrd="0" presId="urn:microsoft.com/office/officeart/2005/8/layout/default"/>
    <dgm:cxn modelId="{DA4A4D28-2088-EA42-BA3B-A7384BDC7DC1}" type="presParOf" srcId="{E0EE3D54-4152-4B72-959E-2C4FA1EC7E8A}" destId="{48E12524-4C36-4090-909E-126DC5EF491C}" srcOrd="10" destOrd="0" presId="urn:microsoft.com/office/officeart/2005/8/layout/default"/>
    <dgm:cxn modelId="{7F76BC87-8EE9-374E-866B-F51543A49627}" type="presParOf" srcId="{E0EE3D54-4152-4B72-959E-2C4FA1EC7E8A}" destId="{75C151FB-3FD9-40FF-A4CB-77385F4DA353}" srcOrd="11" destOrd="0" presId="urn:microsoft.com/office/officeart/2005/8/layout/default"/>
    <dgm:cxn modelId="{0C1015F2-FC4C-AF43-8226-1115CB27BCE2}" type="presParOf" srcId="{E0EE3D54-4152-4B72-959E-2C4FA1EC7E8A}" destId="{2D3C7986-8DF9-45DB-9A9B-EE7A552CF20D}" srcOrd="12" destOrd="0" presId="urn:microsoft.com/office/officeart/2005/8/layout/default"/>
    <dgm:cxn modelId="{DF862B37-08E3-D941-B98B-51722FFB2AFB}" type="presParOf" srcId="{E0EE3D54-4152-4B72-959E-2C4FA1EC7E8A}" destId="{787BFC89-B398-48A2-8732-AC4A1F54ED68}" srcOrd="13" destOrd="0" presId="urn:microsoft.com/office/officeart/2005/8/layout/default"/>
    <dgm:cxn modelId="{53E2198E-871C-6943-864F-8E378E9F33C7}" type="presParOf" srcId="{E0EE3D54-4152-4B72-959E-2C4FA1EC7E8A}" destId="{7856E9DB-5223-490A-98A7-D53CB2D2061A}" srcOrd="14" destOrd="0" presId="urn:microsoft.com/office/officeart/2005/8/layout/default"/>
    <dgm:cxn modelId="{B715474F-F8B7-B243-A3EA-2F801EF88A1F}" type="presParOf" srcId="{E0EE3D54-4152-4B72-959E-2C4FA1EC7E8A}" destId="{ED22ABBC-B98B-4911-9849-578111FA83C7}" srcOrd="15" destOrd="0" presId="urn:microsoft.com/office/officeart/2005/8/layout/default"/>
    <dgm:cxn modelId="{B9D3DB60-A487-BC41-8DB0-E22A9DB685F9}" type="presParOf" srcId="{E0EE3D54-4152-4B72-959E-2C4FA1EC7E8A}" destId="{1A3660C9-CC55-4F49-832B-0508240492F1}" srcOrd="16" destOrd="0" presId="urn:microsoft.com/office/officeart/2005/8/layout/default"/>
    <dgm:cxn modelId="{01C65B0F-FCB1-3B4A-BF30-3F4B8A17143C}" type="presParOf" srcId="{E0EE3D54-4152-4B72-959E-2C4FA1EC7E8A}" destId="{7F8BA104-1E52-4D9B-9A32-71864D01F980}" srcOrd="17" destOrd="0" presId="urn:microsoft.com/office/officeart/2005/8/layout/default"/>
    <dgm:cxn modelId="{201D28E1-F507-7A48-98BC-D84B00E2DCE2}" type="presParOf" srcId="{E0EE3D54-4152-4B72-959E-2C4FA1EC7E8A}" destId="{B49222C5-57F4-408F-8060-EF584ED473F5}" srcOrd="1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3E78803-AE45-440C-8B22-7666C2F615B6}" type="doc">
      <dgm:prSet loTypeId="urn:microsoft.com/office/officeart/2005/8/layout/bProcess4" loCatId="process" qsTypeId="urn:microsoft.com/office/officeart/2005/8/quickstyle/3d8" qsCatId="3D" csTypeId="urn:microsoft.com/office/officeart/2005/8/colors/colorful1#7" csCatId="colorful" phldr="1"/>
      <dgm:spPr>
        <a:scene3d>
          <a:camera prst="perspectiveHeroicExtremeRightFacing" fov="1080000" zoom="82000">
            <a:rot lat="21300000" lon="20400000" rev="180000"/>
          </a:camera>
          <a:lightRig rig="morning" dir="t">
            <a:rot lat="0" lon="0" rev="20400000"/>
          </a:lightRig>
        </a:scene3d>
      </dgm:spPr>
      <dgm:t>
        <a:bodyPr/>
        <a:lstStyle/>
        <a:p>
          <a:endParaRPr lang="en-US"/>
        </a:p>
      </dgm:t>
    </dgm:pt>
    <dgm:pt modelId="{BD222623-7161-4AD3-BA00-DDE6C29F6C2E}">
      <dgm:prSet phldrT="[Text]" custT="1"/>
      <dgm:spPr/>
      <dgm:t>
        <a:bodyPr/>
        <a:lstStyle/>
        <a:p>
          <a:r>
            <a:rPr lang="id-ID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enelitian persyaratan dan Peninjauan Lapangan</a:t>
          </a:r>
          <a:endParaRPr lang="en-US" sz="18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385F9E08-B570-4857-8845-C6257B5DC686}" type="parTrans" cxnId="{1F0BCA84-7CF2-429C-82AD-B3EC5FC60218}">
      <dgm:prSet/>
      <dgm:spPr/>
      <dgm:t>
        <a:bodyPr/>
        <a:lstStyle/>
        <a:p>
          <a:endParaRPr lang="en-US"/>
        </a:p>
      </dgm:t>
    </dgm:pt>
    <dgm:pt modelId="{B37A7886-28F8-4117-B2BA-8EC0DD706E50}" type="sibTrans" cxnId="{1F0BCA84-7CF2-429C-82AD-B3EC5FC60218}">
      <dgm:prSet>
        <dgm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dgm:style>
      </dgm:prSet>
      <dgm:spPr>
        <a:ln/>
      </dgm:spPr>
      <dgm:t>
        <a:bodyPr/>
        <a:lstStyle/>
        <a:p>
          <a:endParaRPr lang="en-US" dirty="0">
            <a:solidFill>
              <a:srgbClr val="FF0000"/>
            </a:solidFill>
          </a:endParaRPr>
        </a:p>
      </dgm:t>
    </dgm:pt>
    <dgm:pt modelId="{D7A4BB06-E5A1-4424-B1A7-1D3546508957}">
      <dgm:prSet phldrT="[Text]" custT="1"/>
      <dgm:spPr/>
      <dgm:t>
        <a:bodyPr/>
        <a:lstStyle/>
        <a:p>
          <a:r>
            <a:rPr lang="en-US" sz="2000" b="1" dirty="0" err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idang</a:t>
          </a:r>
          <a:r>
            <a:rPr lang="en-US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Panel</a:t>
          </a:r>
        </a:p>
      </dgm:t>
    </dgm:pt>
    <dgm:pt modelId="{D9018DA8-DB5C-42FF-A852-994B7D4717C9}" type="parTrans" cxnId="{70F99020-5EB1-4974-AE35-305EB561ECDD}">
      <dgm:prSet/>
      <dgm:spPr/>
      <dgm:t>
        <a:bodyPr/>
        <a:lstStyle/>
        <a:p>
          <a:endParaRPr lang="en-US"/>
        </a:p>
      </dgm:t>
    </dgm:pt>
    <dgm:pt modelId="{0A9C1C93-A0ED-4DB5-B4AB-86965852699F}" type="sibTrans" cxnId="{70F99020-5EB1-4974-AE35-305EB561ECDD}">
      <dgm:prSet>
        <dgm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dgm:style>
      </dgm:prSet>
      <dgm:spPr>
        <a:ln/>
      </dgm:spPr>
      <dgm:t>
        <a:bodyPr/>
        <a:lstStyle/>
        <a:p>
          <a:endParaRPr lang="en-US" dirty="0">
            <a:solidFill>
              <a:srgbClr val="FF0000"/>
            </a:solidFill>
          </a:endParaRPr>
        </a:p>
      </dgm:t>
    </dgm:pt>
    <dgm:pt modelId="{90788617-0B17-438F-B63D-0B157A72B020}">
      <dgm:prSet phldrT="[Text]" custT="1"/>
      <dgm:spPr/>
      <dgm:t>
        <a:bodyPr/>
        <a:lstStyle/>
        <a:p>
          <a:r>
            <a:rPr lang="id-ID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ermohonan</a:t>
          </a:r>
          <a:endParaRPr lang="en-US" sz="20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2910DE2C-1160-4EC5-AE08-EBD614B21CFE}" type="sibTrans" cxnId="{DB0EA807-7DB0-4E9B-AA30-37E45397CEFA}">
      <dgm:prSet>
        <dgm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dgm:style>
      </dgm:prSet>
      <dgm:spPr>
        <a:ln>
          <a:solidFill>
            <a:schemeClr val="tx1"/>
          </a:solidFill>
        </a:ln>
      </dgm:spPr>
      <dgm:t>
        <a:bodyPr/>
        <a:lstStyle/>
        <a:p>
          <a:endParaRPr lang="en-US" dirty="0">
            <a:solidFill>
              <a:srgbClr val="FF0000"/>
            </a:solidFill>
          </a:endParaRPr>
        </a:p>
      </dgm:t>
    </dgm:pt>
    <dgm:pt modelId="{ECE8A684-2A54-42EB-9CBF-4E77B930DEF9}" type="parTrans" cxnId="{DB0EA807-7DB0-4E9B-AA30-37E45397CEFA}">
      <dgm:prSet/>
      <dgm:spPr/>
      <dgm:t>
        <a:bodyPr/>
        <a:lstStyle/>
        <a:p>
          <a:endParaRPr lang="en-US"/>
        </a:p>
      </dgm:t>
    </dgm:pt>
    <dgm:pt modelId="{0E428A6E-B5A3-4DC3-89FD-ECE563485963}">
      <dgm:prSet phldrT="[Text]" custT="1"/>
      <dgm:spPr/>
      <dgm:t>
        <a:bodyPr/>
        <a:lstStyle/>
        <a:p>
          <a:r>
            <a:rPr lang="id-ID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erlakuan Kepabeanan</a:t>
          </a:r>
          <a:endParaRPr lang="en-US" sz="24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3FEE15D4-3F78-4A6E-9EB1-AA6869942216}" type="parTrans" cxnId="{F0A3FD56-E625-41B2-A76A-330E1D0B26D1}">
      <dgm:prSet/>
      <dgm:spPr/>
      <dgm:t>
        <a:bodyPr/>
        <a:lstStyle/>
        <a:p>
          <a:endParaRPr lang="en-US"/>
        </a:p>
      </dgm:t>
    </dgm:pt>
    <dgm:pt modelId="{91CC59D5-E7D0-42D9-9DE8-39415E7608CB}" type="sibTrans" cxnId="{F0A3FD56-E625-41B2-A76A-330E1D0B26D1}">
      <dgm:prSet>
        <dgm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dgm:style>
      </dgm:prSet>
      <dgm:spPr>
        <a:ln/>
      </dgm:spPr>
      <dgm:t>
        <a:bodyPr/>
        <a:lstStyle/>
        <a:p>
          <a:endParaRPr lang="en-US" dirty="0">
            <a:solidFill>
              <a:srgbClr val="FF0000"/>
            </a:solidFill>
          </a:endParaRPr>
        </a:p>
      </dgm:t>
    </dgm:pt>
    <dgm:pt modelId="{248EC565-E7BA-4591-B4AE-98F36B9F9429}">
      <dgm:prSet phldrT="[Text]" custT="1"/>
      <dgm:spPr/>
      <dgm:t>
        <a:bodyPr/>
        <a:lstStyle/>
        <a:p>
          <a:r>
            <a:rPr 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</a:t>
          </a:r>
          <a:r>
            <a:rPr lang="id-ID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onitoring dan Evaluasi</a:t>
          </a:r>
          <a:endParaRPr lang="en-US" sz="24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CBA75B30-E6FF-497B-B9B8-9FF9DCC6164E}" type="parTrans" cxnId="{8A0BBAE3-597A-48A8-86A7-7834B17185FC}">
      <dgm:prSet/>
      <dgm:spPr/>
      <dgm:t>
        <a:bodyPr/>
        <a:lstStyle/>
        <a:p>
          <a:endParaRPr lang="en-US"/>
        </a:p>
      </dgm:t>
    </dgm:pt>
    <dgm:pt modelId="{D8161BC2-050F-46D8-89A7-103E1EDCAB61}" type="sibTrans" cxnId="{8A0BBAE3-597A-48A8-86A7-7834B17185FC}">
      <dgm:prSet>
        <dgm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dgm:style>
      </dgm:prSet>
      <dgm:spPr>
        <a:ln/>
      </dgm:spPr>
      <dgm:t>
        <a:bodyPr/>
        <a:lstStyle/>
        <a:p>
          <a:endParaRPr lang="en-US" dirty="0">
            <a:solidFill>
              <a:srgbClr val="FF0000"/>
            </a:solidFill>
          </a:endParaRPr>
        </a:p>
      </dgm:t>
    </dgm:pt>
    <dgm:pt modelId="{360436A8-AECC-4421-B1CB-4B34FE03FCC9}">
      <dgm:prSet phldrT="[Text]" custT="1"/>
      <dgm:spPr/>
      <dgm:t>
        <a:bodyPr/>
        <a:lstStyle/>
        <a:p>
          <a:r>
            <a:rPr lang="id-ID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engembangan dan MRA</a:t>
          </a:r>
          <a:endParaRPr lang="en-US" sz="20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40B9BB3-ED74-4B66-9E55-078EEA94C60F}" type="parTrans" cxnId="{55225234-20EA-4F71-931A-B63F1A463019}">
      <dgm:prSet/>
      <dgm:spPr/>
      <dgm:t>
        <a:bodyPr/>
        <a:lstStyle/>
        <a:p>
          <a:endParaRPr lang="en-US"/>
        </a:p>
      </dgm:t>
    </dgm:pt>
    <dgm:pt modelId="{9C6992B2-5ED4-4B6A-83D0-931E77F74A46}" type="sibTrans" cxnId="{55225234-20EA-4F71-931A-B63F1A463019}">
      <dgm:prSet/>
      <dgm:spPr/>
      <dgm:t>
        <a:bodyPr/>
        <a:lstStyle/>
        <a:p>
          <a:endParaRPr lang="en-US"/>
        </a:p>
      </dgm:t>
    </dgm:pt>
    <dgm:pt modelId="{0175C3F2-DED2-D140-908F-81BBE96A9637}">
      <dgm:prSet custT="1"/>
      <dgm:spPr/>
      <dgm:t>
        <a:bodyPr/>
        <a:lstStyle/>
        <a:p>
          <a:r>
            <a:rPr lang="en-US" sz="2400" b="1" dirty="0" err="1"/>
            <a:t>Sertifikasi</a:t>
          </a:r>
          <a:r>
            <a:rPr lang="en-US" sz="2400" b="1" dirty="0"/>
            <a:t> AEO</a:t>
          </a:r>
        </a:p>
      </dgm:t>
    </dgm:pt>
    <dgm:pt modelId="{E1AC74D3-1D4E-F443-AC06-6F98EF83B3BA}" type="sibTrans" cxnId="{75EB0AF1-05BB-7947-B1BF-6C8FCEEC6BDE}">
      <dgm:prSet/>
      <dgm:spPr/>
      <dgm:t>
        <a:bodyPr/>
        <a:lstStyle/>
        <a:p>
          <a:endParaRPr lang="en-US"/>
        </a:p>
      </dgm:t>
    </dgm:pt>
    <dgm:pt modelId="{6E0F93BA-1490-CF4E-B327-C3F1F6559E89}" type="parTrans" cxnId="{75EB0AF1-05BB-7947-B1BF-6C8FCEEC6BDE}">
      <dgm:prSet/>
      <dgm:spPr/>
      <dgm:t>
        <a:bodyPr/>
        <a:lstStyle/>
        <a:p>
          <a:endParaRPr lang="en-US"/>
        </a:p>
      </dgm:t>
    </dgm:pt>
    <dgm:pt modelId="{E2E0D246-331B-8645-9AD0-23E51294A4C9}" type="pres">
      <dgm:prSet presAssocID="{23E78803-AE45-440C-8B22-7666C2F615B6}" presName="Name0" presStyleCnt="0">
        <dgm:presLayoutVars>
          <dgm:dir/>
          <dgm:resizeHandles/>
        </dgm:presLayoutVars>
      </dgm:prSet>
      <dgm:spPr/>
      <dgm:t>
        <a:bodyPr/>
        <a:lstStyle/>
        <a:p>
          <a:endParaRPr lang="en-US"/>
        </a:p>
      </dgm:t>
    </dgm:pt>
    <dgm:pt modelId="{3132A14E-7922-AC40-858E-A0F5B8F9F549}" type="pres">
      <dgm:prSet presAssocID="{90788617-0B17-438F-B63D-0B157A72B020}" presName="compNode" presStyleCnt="0"/>
      <dgm:spPr/>
      <dgm:t>
        <a:bodyPr/>
        <a:lstStyle/>
        <a:p>
          <a:endParaRPr lang="en-US"/>
        </a:p>
      </dgm:t>
    </dgm:pt>
    <dgm:pt modelId="{9B261567-9313-D340-ACCC-7DBEF39BFB64}" type="pres">
      <dgm:prSet presAssocID="{90788617-0B17-438F-B63D-0B157A72B020}" presName="dummyConnPt" presStyleCnt="0"/>
      <dgm:spPr/>
      <dgm:t>
        <a:bodyPr/>
        <a:lstStyle/>
        <a:p>
          <a:endParaRPr lang="en-US"/>
        </a:p>
      </dgm:t>
    </dgm:pt>
    <dgm:pt modelId="{9F32B141-93F6-6047-BC56-255D588F2345}" type="pres">
      <dgm:prSet presAssocID="{90788617-0B17-438F-B63D-0B157A72B020}" presName="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4C81907-CA61-2D49-B6B9-F36D3905028E}" type="pres">
      <dgm:prSet presAssocID="{2910DE2C-1160-4EC5-AE08-EBD614B21CFE}" presName="sibTrans" presStyleLbl="bgSibTrans2D1" presStyleIdx="0" presStyleCnt="6"/>
      <dgm:spPr/>
      <dgm:t>
        <a:bodyPr/>
        <a:lstStyle/>
        <a:p>
          <a:endParaRPr lang="en-US"/>
        </a:p>
      </dgm:t>
    </dgm:pt>
    <dgm:pt modelId="{2081244A-7398-7E40-834F-42F6B69A9DD6}" type="pres">
      <dgm:prSet presAssocID="{BD222623-7161-4AD3-BA00-DDE6C29F6C2E}" presName="compNode" presStyleCnt="0"/>
      <dgm:spPr/>
      <dgm:t>
        <a:bodyPr/>
        <a:lstStyle/>
        <a:p>
          <a:endParaRPr lang="en-US"/>
        </a:p>
      </dgm:t>
    </dgm:pt>
    <dgm:pt modelId="{336BCAAB-1E4D-B248-A55D-AE689AF328D9}" type="pres">
      <dgm:prSet presAssocID="{BD222623-7161-4AD3-BA00-DDE6C29F6C2E}" presName="dummyConnPt" presStyleCnt="0"/>
      <dgm:spPr/>
      <dgm:t>
        <a:bodyPr/>
        <a:lstStyle/>
        <a:p>
          <a:endParaRPr lang="en-US"/>
        </a:p>
      </dgm:t>
    </dgm:pt>
    <dgm:pt modelId="{B0229665-E68D-A540-A0E4-9B6B7C6AC1A2}" type="pres">
      <dgm:prSet presAssocID="{BD222623-7161-4AD3-BA00-DDE6C29F6C2E}" presName="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D62CA96-A8A6-4F42-9052-8F442053345E}" type="pres">
      <dgm:prSet presAssocID="{B37A7886-28F8-4117-B2BA-8EC0DD706E50}" presName="sibTrans" presStyleLbl="bgSibTrans2D1" presStyleIdx="1" presStyleCnt="6"/>
      <dgm:spPr/>
      <dgm:t>
        <a:bodyPr/>
        <a:lstStyle/>
        <a:p>
          <a:endParaRPr lang="en-US"/>
        </a:p>
      </dgm:t>
    </dgm:pt>
    <dgm:pt modelId="{7CFEACD2-C67B-1B4E-9BA7-ED0A063E2BE8}" type="pres">
      <dgm:prSet presAssocID="{D7A4BB06-E5A1-4424-B1A7-1D3546508957}" presName="compNode" presStyleCnt="0"/>
      <dgm:spPr/>
      <dgm:t>
        <a:bodyPr/>
        <a:lstStyle/>
        <a:p>
          <a:endParaRPr lang="en-US"/>
        </a:p>
      </dgm:t>
    </dgm:pt>
    <dgm:pt modelId="{359BC754-3F4F-7B43-84AA-9B2F1D70DE7E}" type="pres">
      <dgm:prSet presAssocID="{D7A4BB06-E5A1-4424-B1A7-1D3546508957}" presName="dummyConnPt" presStyleCnt="0"/>
      <dgm:spPr/>
      <dgm:t>
        <a:bodyPr/>
        <a:lstStyle/>
        <a:p>
          <a:endParaRPr lang="en-US"/>
        </a:p>
      </dgm:t>
    </dgm:pt>
    <dgm:pt modelId="{3E515AE3-E6DA-574D-BD7F-3DB627F8285E}" type="pres">
      <dgm:prSet presAssocID="{D7A4BB06-E5A1-4424-B1A7-1D3546508957}" presName="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45DC57-12A8-8A44-B3A1-631BCAE553DE}" type="pres">
      <dgm:prSet presAssocID="{0A9C1C93-A0ED-4DB5-B4AB-86965852699F}" presName="sibTrans" presStyleLbl="bgSibTrans2D1" presStyleIdx="2" presStyleCnt="6"/>
      <dgm:spPr/>
      <dgm:t>
        <a:bodyPr/>
        <a:lstStyle/>
        <a:p>
          <a:endParaRPr lang="en-US"/>
        </a:p>
      </dgm:t>
    </dgm:pt>
    <dgm:pt modelId="{AC650793-080E-6B42-8C1B-E31C9D528D1B}" type="pres">
      <dgm:prSet presAssocID="{0175C3F2-DED2-D140-908F-81BBE96A9637}" presName="compNode" presStyleCnt="0"/>
      <dgm:spPr/>
      <dgm:t>
        <a:bodyPr/>
        <a:lstStyle/>
        <a:p>
          <a:endParaRPr lang="en-US"/>
        </a:p>
      </dgm:t>
    </dgm:pt>
    <dgm:pt modelId="{4099531F-E36E-1348-B98A-4737BD60FC10}" type="pres">
      <dgm:prSet presAssocID="{0175C3F2-DED2-D140-908F-81BBE96A9637}" presName="dummyConnPt" presStyleCnt="0"/>
      <dgm:spPr/>
      <dgm:t>
        <a:bodyPr/>
        <a:lstStyle/>
        <a:p>
          <a:endParaRPr lang="en-US"/>
        </a:p>
      </dgm:t>
    </dgm:pt>
    <dgm:pt modelId="{F55B4FC3-0935-C348-96B9-7B4B6C159B9D}" type="pres">
      <dgm:prSet presAssocID="{0175C3F2-DED2-D140-908F-81BBE96A9637}" presName="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91821FF-D28C-DD4A-A020-D6C02C2F6580}" type="pres">
      <dgm:prSet presAssocID="{E1AC74D3-1D4E-F443-AC06-6F98EF83B3BA}" presName="sibTrans" presStyleLbl="bgSibTrans2D1" presStyleIdx="3" presStyleCnt="6"/>
      <dgm:spPr/>
      <dgm:t>
        <a:bodyPr/>
        <a:lstStyle/>
        <a:p>
          <a:endParaRPr lang="en-US"/>
        </a:p>
      </dgm:t>
    </dgm:pt>
    <dgm:pt modelId="{02493859-0CF5-704F-AE1C-E36C91241850}" type="pres">
      <dgm:prSet presAssocID="{0E428A6E-B5A3-4DC3-89FD-ECE563485963}" presName="compNode" presStyleCnt="0"/>
      <dgm:spPr/>
      <dgm:t>
        <a:bodyPr/>
        <a:lstStyle/>
        <a:p>
          <a:endParaRPr lang="en-US"/>
        </a:p>
      </dgm:t>
    </dgm:pt>
    <dgm:pt modelId="{BE0D4049-16AF-7A47-9162-F2012096CD3A}" type="pres">
      <dgm:prSet presAssocID="{0E428A6E-B5A3-4DC3-89FD-ECE563485963}" presName="dummyConnPt" presStyleCnt="0"/>
      <dgm:spPr/>
      <dgm:t>
        <a:bodyPr/>
        <a:lstStyle/>
        <a:p>
          <a:endParaRPr lang="en-US"/>
        </a:p>
      </dgm:t>
    </dgm:pt>
    <dgm:pt modelId="{D5F04B75-FDD9-1C47-A14A-A2DB06CE9635}" type="pres">
      <dgm:prSet presAssocID="{0E428A6E-B5A3-4DC3-89FD-ECE563485963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1CBB8CB-D880-684C-9048-58A98714785D}" type="pres">
      <dgm:prSet presAssocID="{91CC59D5-E7D0-42D9-9DE8-39415E7608CB}" presName="sibTrans" presStyleLbl="bgSibTrans2D1" presStyleIdx="4" presStyleCnt="6"/>
      <dgm:spPr/>
      <dgm:t>
        <a:bodyPr/>
        <a:lstStyle/>
        <a:p>
          <a:endParaRPr lang="en-US"/>
        </a:p>
      </dgm:t>
    </dgm:pt>
    <dgm:pt modelId="{06F4ABD4-3B29-484A-B066-8D0044D47E50}" type="pres">
      <dgm:prSet presAssocID="{248EC565-E7BA-4591-B4AE-98F36B9F9429}" presName="compNode" presStyleCnt="0"/>
      <dgm:spPr/>
      <dgm:t>
        <a:bodyPr/>
        <a:lstStyle/>
        <a:p>
          <a:endParaRPr lang="en-US"/>
        </a:p>
      </dgm:t>
    </dgm:pt>
    <dgm:pt modelId="{7FBAD8A1-F3D7-6445-AF78-23FE4FB6B6CF}" type="pres">
      <dgm:prSet presAssocID="{248EC565-E7BA-4591-B4AE-98F36B9F9429}" presName="dummyConnPt" presStyleCnt="0"/>
      <dgm:spPr/>
      <dgm:t>
        <a:bodyPr/>
        <a:lstStyle/>
        <a:p>
          <a:endParaRPr lang="en-US"/>
        </a:p>
      </dgm:t>
    </dgm:pt>
    <dgm:pt modelId="{F7EA253A-518D-234B-BEF0-D8FCC1C1C449}" type="pres">
      <dgm:prSet presAssocID="{248EC565-E7BA-4591-B4AE-98F36B9F9429}" presName="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33ECB7A-2193-FB47-AA5B-7EA87760EE5D}" type="pres">
      <dgm:prSet presAssocID="{D8161BC2-050F-46D8-89A7-103E1EDCAB61}" presName="sibTrans" presStyleLbl="bgSibTrans2D1" presStyleIdx="5" presStyleCnt="6"/>
      <dgm:spPr/>
      <dgm:t>
        <a:bodyPr/>
        <a:lstStyle/>
        <a:p>
          <a:endParaRPr lang="en-US"/>
        </a:p>
      </dgm:t>
    </dgm:pt>
    <dgm:pt modelId="{EF54C790-9507-F94D-A51D-2754DFAE0339}" type="pres">
      <dgm:prSet presAssocID="{360436A8-AECC-4421-B1CB-4B34FE03FCC9}" presName="compNode" presStyleCnt="0"/>
      <dgm:spPr/>
      <dgm:t>
        <a:bodyPr/>
        <a:lstStyle/>
        <a:p>
          <a:endParaRPr lang="en-US"/>
        </a:p>
      </dgm:t>
    </dgm:pt>
    <dgm:pt modelId="{379B8029-7F15-D742-B661-3A61D1A56E10}" type="pres">
      <dgm:prSet presAssocID="{360436A8-AECC-4421-B1CB-4B34FE03FCC9}" presName="dummyConnPt" presStyleCnt="0"/>
      <dgm:spPr/>
      <dgm:t>
        <a:bodyPr/>
        <a:lstStyle/>
        <a:p>
          <a:endParaRPr lang="en-US"/>
        </a:p>
      </dgm:t>
    </dgm:pt>
    <dgm:pt modelId="{32FC9CB1-3114-344C-AB0C-E4A31FBA7ECB}" type="pres">
      <dgm:prSet presAssocID="{360436A8-AECC-4421-B1CB-4B34FE03FCC9}" presName="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3D715AE-7102-6C4D-B7E8-8829A07EFAF9}" type="presOf" srcId="{D7A4BB06-E5A1-4424-B1A7-1D3546508957}" destId="{3E515AE3-E6DA-574D-BD7F-3DB627F8285E}" srcOrd="0" destOrd="0" presId="urn:microsoft.com/office/officeart/2005/8/layout/bProcess4"/>
    <dgm:cxn modelId="{D3D26526-58E3-6141-A15A-D8770803A1FD}" type="presOf" srcId="{E1AC74D3-1D4E-F443-AC06-6F98EF83B3BA}" destId="{D91821FF-D28C-DD4A-A020-D6C02C2F6580}" srcOrd="0" destOrd="0" presId="urn:microsoft.com/office/officeart/2005/8/layout/bProcess4"/>
    <dgm:cxn modelId="{70F99020-5EB1-4974-AE35-305EB561ECDD}" srcId="{23E78803-AE45-440C-8B22-7666C2F615B6}" destId="{D7A4BB06-E5A1-4424-B1A7-1D3546508957}" srcOrd="2" destOrd="0" parTransId="{D9018DA8-DB5C-42FF-A852-994B7D4717C9}" sibTransId="{0A9C1C93-A0ED-4DB5-B4AB-86965852699F}"/>
    <dgm:cxn modelId="{1F0BCA84-7CF2-429C-82AD-B3EC5FC60218}" srcId="{23E78803-AE45-440C-8B22-7666C2F615B6}" destId="{BD222623-7161-4AD3-BA00-DDE6C29F6C2E}" srcOrd="1" destOrd="0" parTransId="{385F9E08-B570-4857-8845-C6257B5DC686}" sibTransId="{B37A7886-28F8-4117-B2BA-8EC0DD706E50}"/>
    <dgm:cxn modelId="{F0A3FD56-E625-41B2-A76A-330E1D0B26D1}" srcId="{23E78803-AE45-440C-8B22-7666C2F615B6}" destId="{0E428A6E-B5A3-4DC3-89FD-ECE563485963}" srcOrd="4" destOrd="0" parTransId="{3FEE15D4-3F78-4A6E-9EB1-AA6869942216}" sibTransId="{91CC59D5-E7D0-42D9-9DE8-39415E7608CB}"/>
    <dgm:cxn modelId="{6534633C-6D93-4341-AA9A-B5C7C297A05C}" type="presOf" srcId="{0175C3F2-DED2-D140-908F-81BBE96A9637}" destId="{F55B4FC3-0935-C348-96B9-7B4B6C159B9D}" srcOrd="0" destOrd="0" presId="urn:microsoft.com/office/officeart/2005/8/layout/bProcess4"/>
    <dgm:cxn modelId="{984C8236-E743-114B-A980-F3499CD979DD}" type="presOf" srcId="{248EC565-E7BA-4591-B4AE-98F36B9F9429}" destId="{F7EA253A-518D-234B-BEF0-D8FCC1C1C449}" srcOrd="0" destOrd="0" presId="urn:microsoft.com/office/officeart/2005/8/layout/bProcess4"/>
    <dgm:cxn modelId="{5C7D0914-9E0C-894F-8965-17FD0AD360E6}" type="presOf" srcId="{90788617-0B17-438F-B63D-0B157A72B020}" destId="{9F32B141-93F6-6047-BC56-255D588F2345}" srcOrd="0" destOrd="0" presId="urn:microsoft.com/office/officeart/2005/8/layout/bProcess4"/>
    <dgm:cxn modelId="{163805A7-05BF-1E4E-8C61-4E51275A88D4}" type="presOf" srcId="{360436A8-AECC-4421-B1CB-4B34FE03FCC9}" destId="{32FC9CB1-3114-344C-AB0C-E4A31FBA7ECB}" srcOrd="0" destOrd="0" presId="urn:microsoft.com/office/officeart/2005/8/layout/bProcess4"/>
    <dgm:cxn modelId="{AFD5D09D-DFA6-5146-B0BA-D9F15574E7EB}" type="presOf" srcId="{B37A7886-28F8-4117-B2BA-8EC0DD706E50}" destId="{8D62CA96-A8A6-4F42-9052-8F442053345E}" srcOrd="0" destOrd="0" presId="urn:microsoft.com/office/officeart/2005/8/layout/bProcess4"/>
    <dgm:cxn modelId="{C2C9E1FA-6BB2-9E40-83F4-15E6187BBD18}" type="presOf" srcId="{0A9C1C93-A0ED-4DB5-B4AB-86965852699F}" destId="{8A45DC57-12A8-8A44-B3A1-631BCAE553DE}" srcOrd="0" destOrd="0" presId="urn:microsoft.com/office/officeart/2005/8/layout/bProcess4"/>
    <dgm:cxn modelId="{09FAF3F9-3B2D-C84D-84EC-AEB5D2B51A01}" type="presOf" srcId="{BD222623-7161-4AD3-BA00-DDE6C29F6C2E}" destId="{B0229665-E68D-A540-A0E4-9B6B7C6AC1A2}" srcOrd="0" destOrd="0" presId="urn:microsoft.com/office/officeart/2005/8/layout/bProcess4"/>
    <dgm:cxn modelId="{8A0BBAE3-597A-48A8-86A7-7834B17185FC}" srcId="{23E78803-AE45-440C-8B22-7666C2F615B6}" destId="{248EC565-E7BA-4591-B4AE-98F36B9F9429}" srcOrd="5" destOrd="0" parTransId="{CBA75B30-E6FF-497B-B9B8-9FF9DCC6164E}" sibTransId="{D8161BC2-050F-46D8-89A7-103E1EDCAB61}"/>
    <dgm:cxn modelId="{FFF837AB-F4C4-EF47-A53B-1F40FAD438C3}" type="presOf" srcId="{0E428A6E-B5A3-4DC3-89FD-ECE563485963}" destId="{D5F04B75-FDD9-1C47-A14A-A2DB06CE9635}" srcOrd="0" destOrd="0" presId="urn:microsoft.com/office/officeart/2005/8/layout/bProcess4"/>
    <dgm:cxn modelId="{18E04AC0-A69F-1642-9086-952847F173DD}" type="presOf" srcId="{91CC59D5-E7D0-42D9-9DE8-39415E7608CB}" destId="{E1CBB8CB-D880-684C-9048-58A98714785D}" srcOrd="0" destOrd="0" presId="urn:microsoft.com/office/officeart/2005/8/layout/bProcess4"/>
    <dgm:cxn modelId="{73286E38-217C-C148-A01D-BF5080E3FAE2}" type="presOf" srcId="{23E78803-AE45-440C-8B22-7666C2F615B6}" destId="{E2E0D246-331B-8645-9AD0-23E51294A4C9}" srcOrd="0" destOrd="0" presId="urn:microsoft.com/office/officeart/2005/8/layout/bProcess4"/>
    <dgm:cxn modelId="{75EB0AF1-05BB-7947-B1BF-6C8FCEEC6BDE}" srcId="{23E78803-AE45-440C-8B22-7666C2F615B6}" destId="{0175C3F2-DED2-D140-908F-81BBE96A9637}" srcOrd="3" destOrd="0" parTransId="{6E0F93BA-1490-CF4E-B327-C3F1F6559E89}" sibTransId="{E1AC74D3-1D4E-F443-AC06-6F98EF83B3BA}"/>
    <dgm:cxn modelId="{DB0EA807-7DB0-4E9B-AA30-37E45397CEFA}" srcId="{23E78803-AE45-440C-8B22-7666C2F615B6}" destId="{90788617-0B17-438F-B63D-0B157A72B020}" srcOrd="0" destOrd="0" parTransId="{ECE8A684-2A54-42EB-9CBF-4E77B930DEF9}" sibTransId="{2910DE2C-1160-4EC5-AE08-EBD614B21CFE}"/>
    <dgm:cxn modelId="{55225234-20EA-4F71-931A-B63F1A463019}" srcId="{23E78803-AE45-440C-8B22-7666C2F615B6}" destId="{360436A8-AECC-4421-B1CB-4B34FE03FCC9}" srcOrd="6" destOrd="0" parTransId="{540B9BB3-ED74-4B66-9E55-078EEA94C60F}" sibTransId="{9C6992B2-5ED4-4B6A-83D0-931E77F74A46}"/>
    <dgm:cxn modelId="{6A7EFCA8-CA62-624B-AD0B-2A373F66A9E3}" type="presOf" srcId="{2910DE2C-1160-4EC5-AE08-EBD614B21CFE}" destId="{54C81907-CA61-2D49-B6B9-F36D3905028E}" srcOrd="0" destOrd="0" presId="urn:microsoft.com/office/officeart/2005/8/layout/bProcess4"/>
    <dgm:cxn modelId="{43C89AD4-7AD3-D240-AD6A-D51258110613}" type="presOf" srcId="{D8161BC2-050F-46D8-89A7-103E1EDCAB61}" destId="{433ECB7A-2193-FB47-AA5B-7EA87760EE5D}" srcOrd="0" destOrd="0" presId="urn:microsoft.com/office/officeart/2005/8/layout/bProcess4"/>
    <dgm:cxn modelId="{CBDF7AB6-E6AB-3043-9B59-C4D4AF2E1368}" type="presParOf" srcId="{E2E0D246-331B-8645-9AD0-23E51294A4C9}" destId="{3132A14E-7922-AC40-858E-A0F5B8F9F549}" srcOrd="0" destOrd="0" presId="urn:microsoft.com/office/officeart/2005/8/layout/bProcess4"/>
    <dgm:cxn modelId="{2DFA0CB2-FBF3-8641-B6BD-8644C8E815A8}" type="presParOf" srcId="{3132A14E-7922-AC40-858E-A0F5B8F9F549}" destId="{9B261567-9313-D340-ACCC-7DBEF39BFB64}" srcOrd="0" destOrd="0" presId="urn:microsoft.com/office/officeart/2005/8/layout/bProcess4"/>
    <dgm:cxn modelId="{7EC69F0F-AFB2-814A-993D-29E54676C950}" type="presParOf" srcId="{3132A14E-7922-AC40-858E-A0F5B8F9F549}" destId="{9F32B141-93F6-6047-BC56-255D588F2345}" srcOrd="1" destOrd="0" presId="urn:microsoft.com/office/officeart/2005/8/layout/bProcess4"/>
    <dgm:cxn modelId="{FA31CD31-AEE4-D44E-A16F-F832E9F5B270}" type="presParOf" srcId="{E2E0D246-331B-8645-9AD0-23E51294A4C9}" destId="{54C81907-CA61-2D49-B6B9-F36D3905028E}" srcOrd="1" destOrd="0" presId="urn:microsoft.com/office/officeart/2005/8/layout/bProcess4"/>
    <dgm:cxn modelId="{BC3D8919-AACC-8648-99CD-43C47DD292F8}" type="presParOf" srcId="{E2E0D246-331B-8645-9AD0-23E51294A4C9}" destId="{2081244A-7398-7E40-834F-42F6B69A9DD6}" srcOrd="2" destOrd="0" presId="urn:microsoft.com/office/officeart/2005/8/layout/bProcess4"/>
    <dgm:cxn modelId="{9063CB9F-1B76-9E45-94A7-C6A7146F6B05}" type="presParOf" srcId="{2081244A-7398-7E40-834F-42F6B69A9DD6}" destId="{336BCAAB-1E4D-B248-A55D-AE689AF328D9}" srcOrd="0" destOrd="0" presId="urn:microsoft.com/office/officeart/2005/8/layout/bProcess4"/>
    <dgm:cxn modelId="{70A97362-2533-6041-BFBA-32D27194C6EF}" type="presParOf" srcId="{2081244A-7398-7E40-834F-42F6B69A9DD6}" destId="{B0229665-E68D-A540-A0E4-9B6B7C6AC1A2}" srcOrd="1" destOrd="0" presId="urn:microsoft.com/office/officeart/2005/8/layout/bProcess4"/>
    <dgm:cxn modelId="{AA2E4B7E-0E77-2C40-984D-82188BEDD3EE}" type="presParOf" srcId="{E2E0D246-331B-8645-9AD0-23E51294A4C9}" destId="{8D62CA96-A8A6-4F42-9052-8F442053345E}" srcOrd="3" destOrd="0" presId="urn:microsoft.com/office/officeart/2005/8/layout/bProcess4"/>
    <dgm:cxn modelId="{85DCD671-C41F-F441-A525-8182D09E1056}" type="presParOf" srcId="{E2E0D246-331B-8645-9AD0-23E51294A4C9}" destId="{7CFEACD2-C67B-1B4E-9BA7-ED0A063E2BE8}" srcOrd="4" destOrd="0" presId="urn:microsoft.com/office/officeart/2005/8/layout/bProcess4"/>
    <dgm:cxn modelId="{506C1A55-23A1-D74F-BDF5-2B863B66A705}" type="presParOf" srcId="{7CFEACD2-C67B-1B4E-9BA7-ED0A063E2BE8}" destId="{359BC754-3F4F-7B43-84AA-9B2F1D70DE7E}" srcOrd="0" destOrd="0" presId="urn:microsoft.com/office/officeart/2005/8/layout/bProcess4"/>
    <dgm:cxn modelId="{AF1ADEB0-5480-3A40-B8D6-E00FA1EA8C0E}" type="presParOf" srcId="{7CFEACD2-C67B-1B4E-9BA7-ED0A063E2BE8}" destId="{3E515AE3-E6DA-574D-BD7F-3DB627F8285E}" srcOrd="1" destOrd="0" presId="urn:microsoft.com/office/officeart/2005/8/layout/bProcess4"/>
    <dgm:cxn modelId="{ABF41399-B34C-2549-9253-BAE2C6F63C34}" type="presParOf" srcId="{E2E0D246-331B-8645-9AD0-23E51294A4C9}" destId="{8A45DC57-12A8-8A44-B3A1-631BCAE553DE}" srcOrd="5" destOrd="0" presId="urn:microsoft.com/office/officeart/2005/8/layout/bProcess4"/>
    <dgm:cxn modelId="{602BB016-9A2C-7E4A-883B-DB37B9225651}" type="presParOf" srcId="{E2E0D246-331B-8645-9AD0-23E51294A4C9}" destId="{AC650793-080E-6B42-8C1B-E31C9D528D1B}" srcOrd="6" destOrd="0" presId="urn:microsoft.com/office/officeart/2005/8/layout/bProcess4"/>
    <dgm:cxn modelId="{2A2EE661-9662-1341-AE54-813E279E90AE}" type="presParOf" srcId="{AC650793-080E-6B42-8C1B-E31C9D528D1B}" destId="{4099531F-E36E-1348-B98A-4737BD60FC10}" srcOrd="0" destOrd="0" presId="urn:microsoft.com/office/officeart/2005/8/layout/bProcess4"/>
    <dgm:cxn modelId="{08398754-BC77-D649-980A-17F1BF3F7ABD}" type="presParOf" srcId="{AC650793-080E-6B42-8C1B-E31C9D528D1B}" destId="{F55B4FC3-0935-C348-96B9-7B4B6C159B9D}" srcOrd="1" destOrd="0" presId="urn:microsoft.com/office/officeart/2005/8/layout/bProcess4"/>
    <dgm:cxn modelId="{E8B64452-47B8-4541-976A-CBA6E218FE2A}" type="presParOf" srcId="{E2E0D246-331B-8645-9AD0-23E51294A4C9}" destId="{D91821FF-D28C-DD4A-A020-D6C02C2F6580}" srcOrd="7" destOrd="0" presId="urn:microsoft.com/office/officeart/2005/8/layout/bProcess4"/>
    <dgm:cxn modelId="{8DDB5D41-4477-D145-8019-EF4BC1C158CC}" type="presParOf" srcId="{E2E0D246-331B-8645-9AD0-23E51294A4C9}" destId="{02493859-0CF5-704F-AE1C-E36C91241850}" srcOrd="8" destOrd="0" presId="urn:microsoft.com/office/officeart/2005/8/layout/bProcess4"/>
    <dgm:cxn modelId="{8EDA26D7-094E-9142-8619-07072737781D}" type="presParOf" srcId="{02493859-0CF5-704F-AE1C-E36C91241850}" destId="{BE0D4049-16AF-7A47-9162-F2012096CD3A}" srcOrd="0" destOrd="0" presId="urn:microsoft.com/office/officeart/2005/8/layout/bProcess4"/>
    <dgm:cxn modelId="{1913448E-98E2-5C4A-B14A-1D76E4AEF522}" type="presParOf" srcId="{02493859-0CF5-704F-AE1C-E36C91241850}" destId="{D5F04B75-FDD9-1C47-A14A-A2DB06CE9635}" srcOrd="1" destOrd="0" presId="urn:microsoft.com/office/officeart/2005/8/layout/bProcess4"/>
    <dgm:cxn modelId="{D4994BA1-7BB6-DB43-B7AC-69D2114A3FC3}" type="presParOf" srcId="{E2E0D246-331B-8645-9AD0-23E51294A4C9}" destId="{E1CBB8CB-D880-684C-9048-58A98714785D}" srcOrd="9" destOrd="0" presId="urn:microsoft.com/office/officeart/2005/8/layout/bProcess4"/>
    <dgm:cxn modelId="{E2A2C702-4DBC-E94D-9392-7AC3AB050C12}" type="presParOf" srcId="{E2E0D246-331B-8645-9AD0-23E51294A4C9}" destId="{06F4ABD4-3B29-484A-B066-8D0044D47E50}" srcOrd="10" destOrd="0" presId="urn:microsoft.com/office/officeart/2005/8/layout/bProcess4"/>
    <dgm:cxn modelId="{5D892BEA-AAE4-1E4E-8D00-C0F0025FE00F}" type="presParOf" srcId="{06F4ABD4-3B29-484A-B066-8D0044D47E50}" destId="{7FBAD8A1-F3D7-6445-AF78-23FE4FB6B6CF}" srcOrd="0" destOrd="0" presId="urn:microsoft.com/office/officeart/2005/8/layout/bProcess4"/>
    <dgm:cxn modelId="{E07F13A4-FCA9-C64A-BBCC-4236F41FB5AF}" type="presParOf" srcId="{06F4ABD4-3B29-484A-B066-8D0044D47E50}" destId="{F7EA253A-518D-234B-BEF0-D8FCC1C1C449}" srcOrd="1" destOrd="0" presId="urn:microsoft.com/office/officeart/2005/8/layout/bProcess4"/>
    <dgm:cxn modelId="{85362388-7A12-1641-9267-F5DB788DAB9D}" type="presParOf" srcId="{E2E0D246-331B-8645-9AD0-23E51294A4C9}" destId="{433ECB7A-2193-FB47-AA5B-7EA87760EE5D}" srcOrd="11" destOrd="0" presId="urn:microsoft.com/office/officeart/2005/8/layout/bProcess4"/>
    <dgm:cxn modelId="{6EDB00D3-626B-A340-9481-6B79C332B3E6}" type="presParOf" srcId="{E2E0D246-331B-8645-9AD0-23E51294A4C9}" destId="{EF54C790-9507-F94D-A51D-2754DFAE0339}" srcOrd="12" destOrd="0" presId="urn:microsoft.com/office/officeart/2005/8/layout/bProcess4"/>
    <dgm:cxn modelId="{2F23FFCF-723B-8B4B-A12D-9B67B4A5B9BB}" type="presParOf" srcId="{EF54C790-9507-F94D-A51D-2754DFAE0339}" destId="{379B8029-7F15-D742-B661-3A61D1A56E10}" srcOrd="0" destOrd="0" presId="urn:microsoft.com/office/officeart/2005/8/layout/bProcess4"/>
    <dgm:cxn modelId="{54248CE8-B554-CB4E-A105-E4845F2FF552}" type="presParOf" srcId="{EF54C790-9507-F94D-A51D-2754DFAE0339}" destId="{32FC9CB1-3114-344C-AB0C-E4A31FBA7ECB}" srcOrd="1" destOrd="0" presId="urn:microsoft.com/office/officeart/2005/8/layout/bProcess4"/>
  </dgm:cxnLst>
  <dgm:bg>
    <a:noFill/>
  </dgm:bg>
  <dgm:whole>
    <a:ln>
      <a:noFill/>
    </a:ln>
    <a:effectLst>
      <a:reflection stA="98000" endPos="5000" dist="50800" dir="5400000" sy="-100000" algn="bl" rotWithShape="0"/>
    </a:effectLst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8">
  <dgm:title val=""/>
  <dgm:desc val=""/>
  <dgm:catLst>
    <dgm:cat type="3D" pri="11800"/>
  </dgm:catLst>
  <dgm:scene3d>
    <a:camera prst="perspectiveHeroicExtremeRightFacing" zoom="82000">
      <a:rot lat="21300000" lon="20400000" rev="180000"/>
    </a:camera>
    <a:lightRig rig="morning" dir="t">
      <a:rot lat="0" lon="0" rev="20400000"/>
    </a:lightRig>
  </dgm:scene3d>
  <dgm:styleLbl name="node0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0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600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635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1520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extrusionH="63500" prstMaterial="matte">
      <a:bevelT w="4445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190500" prstMaterial="matte">
      <a:bevelT w="120650" h="38100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extrusionH="63500" prstMaterial="matte">
      <a:bevelT w="4445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extrusionH="63500" prstMaterial="matte">
      <a:bevelT w="4445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extrusionH="63500" prstMaterial="matte">
      <a:bevelT w="4445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extrusionH="63500" prstMaterial="matte">
      <a:bevelT w="4445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id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9618C9C-7EC8-4870-BBFD-10EEAC801758}" type="datetimeFigureOut">
              <a:rPr lang="id-ID" smtClean="0"/>
              <a:t>01/02/2017</a:t>
            </a:fld>
            <a:endParaRPr lang="id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id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id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4731AA4-9C77-4A8E-A55B-BE2A39F22DC7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2126174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7263" y="758825"/>
            <a:ext cx="5051425" cy="3789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DF099-F229-47C1-8D86-1DA4A345954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0920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7263" y="758825"/>
            <a:ext cx="5051425" cy="3789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DF099-F229-47C1-8D86-1DA4A3459544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60158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7263" y="758825"/>
            <a:ext cx="5051425" cy="3789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DF099-F229-47C1-8D86-1DA4A3459544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134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71550" y="757238"/>
            <a:ext cx="5049838" cy="37861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DF099-F229-47C1-8D86-1DA4A3459544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2339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71550" y="757238"/>
            <a:ext cx="5049838" cy="37861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DF099-F229-47C1-8D86-1DA4A3459544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141775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77900" y="758825"/>
            <a:ext cx="5054600" cy="37909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DF099-F229-47C1-8D86-1DA4A3459544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061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7263" y="758825"/>
            <a:ext cx="5051425" cy="3789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DF099-F229-47C1-8D86-1DA4A345954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7305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7263" y="758825"/>
            <a:ext cx="5051425" cy="3789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DF099-F229-47C1-8D86-1DA4A3459544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1360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7263" y="758825"/>
            <a:ext cx="5051425" cy="3789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DF099-F229-47C1-8D86-1DA4A3459544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282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7263" y="758825"/>
            <a:ext cx="5051425" cy="3789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DF099-F229-47C1-8D86-1DA4A3459544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7429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7263" y="758825"/>
            <a:ext cx="5051425" cy="3789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DF099-F229-47C1-8D86-1DA4A3459544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4703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7263" y="758825"/>
            <a:ext cx="5051425" cy="3789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DF099-F229-47C1-8D86-1DA4A3459544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32049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7263" y="758825"/>
            <a:ext cx="5051425" cy="3789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DF099-F229-47C1-8D86-1DA4A3459544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37882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7263" y="758825"/>
            <a:ext cx="5051425" cy="3789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DF099-F229-47C1-8D86-1DA4A3459544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09640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 rot="10800000">
            <a:off x="1731963" y="2155825"/>
            <a:ext cx="7500937" cy="121443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20000"/>
                  <a:lumOff val="80000"/>
                </a:schemeClr>
              </a:gs>
              <a:gs pos="50000">
                <a:schemeClr val="accent1">
                  <a:lumMod val="20000"/>
                  <a:lumOff val="80000"/>
                </a:scheme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8" descr="C:\Users\sahilmi\Pictures\line shadow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7" t="23982" r="4286" b="74432"/>
          <a:stretch>
            <a:fillRect/>
          </a:stretch>
        </p:blipFill>
        <p:spPr bwMode="auto">
          <a:xfrm>
            <a:off x="1871663" y="6218238"/>
            <a:ext cx="5400675" cy="6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34"/>
          <p:cNvSpPr txBox="1">
            <a:spLocks noChangeArrowheads="1"/>
          </p:cNvSpPr>
          <p:nvPr/>
        </p:nvSpPr>
        <p:spPr bwMode="auto">
          <a:xfrm>
            <a:off x="2339975" y="6332538"/>
            <a:ext cx="4608513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altLang="en-US" sz="1100" dirty="0">
                <a:latin typeface="Arial" charset="0"/>
                <a:cs typeface="+mn-cs"/>
              </a:rPr>
              <a:t>Direktorat Jenderal Bea dan Cukai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altLang="en-US" sz="1100" dirty="0">
                <a:latin typeface="Arial" charset="0"/>
                <a:cs typeface="+mn-cs"/>
              </a:rPr>
              <a:t>Kementerian Keuangan RI</a:t>
            </a:r>
            <a:endParaRPr lang="en-AU" altLang="en-US" sz="1100" dirty="0">
              <a:latin typeface="Arial" charset="0"/>
              <a:cs typeface="+mn-cs"/>
            </a:endParaRPr>
          </a:p>
        </p:txBody>
      </p:sp>
      <p:pic>
        <p:nvPicPr>
          <p:cNvPr id="7" name="Picture 4" descr="C:\Users\sahilmi\Pictures\line shadow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432" t="4286" r="23454" b="28152"/>
          <a:stretch>
            <a:fillRect/>
          </a:stretch>
        </p:blipFill>
        <p:spPr bwMode="auto">
          <a:xfrm>
            <a:off x="2867025" y="0"/>
            <a:ext cx="142875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2711450" cy="100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987675" cy="71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6238" y="2155825"/>
            <a:ext cx="73025" cy="1212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14"/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43125"/>
            <a:ext cx="1641475" cy="1214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1640133" y="2120424"/>
            <a:ext cx="7772400" cy="14700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3576638" y="5853113"/>
            <a:ext cx="2133600" cy="365125"/>
          </a:xfrm>
        </p:spPr>
        <p:txBody>
          <a:bodyPr/>
          <a:lstStyle>
            <a:lvl1pPr algn="ctr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FADBB29-8482-4209-A3F0-15F6D98F0DD8}" type="datetimeFigureOut">
              <a:rPr lang="en-US"/>
              <a:pPr>
                <a:defRPr/>
              </a:pPr>
              <a:t>2/1/2017</a:t>
            </a:fld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214313" y="6378575"/>
            <a:ext cx="2133600" cy="365125"/>
          </a:xfrm>
        </p:spPr>
        <p:txBody>
          <a:bodyPr/>
          <a:lstStyle>
            <a:lvl1pPr algn="l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8FBF40F-BA7F-411D-A74A-41932F01737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25465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6376988"/>
            <a:ext cx="91440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1022350" y="-100013"/>
            <a:ext cx="8229600" cy="1143001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dirty="0"/>
              <a:t>Click to edit Master title style</a:t>
            </a:r>
          </a:p>
        </p:txBody>
      </p:sp>
      <p:cxnSp>
        <p:nvCxnSpPr>
          <p:cNvPr id="5" name="Straight Connector 4"/>
          <p:cNvCxnSpPr/>
          <p:nvPr/>
        </p:nvCxnSpPr>
        <p:spPr>
          <a:xfrm rot="5400000">
            <a:off x="642937" y="500063"/>
            <a:ext cx="714375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63" y="115888"/>
            <a:ext cx="871537" cy="696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Slide Number Placeholder 5"/>
          <p:cNvSpPr txBox="1">
            <a:spLocks/>
          </p:cNvSpPr>
          <p:nvPr/>
        </p:nvSpPr>
        <p:spPr>
          <a:xfrm>
            <a:off x="214313" y="6381750"/>
            <a:ext cx="21336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0B317692-A657-41BD-9DDA-7FB6A30C7A24}" type="slidenum">
              <a:rPr lang="en-US" smtClean="0"/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572250" y="6400800"/>
            <a:ext cx="2249488" cy="4159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orat Jenderal Bea dan Cukai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menterian Keuangan RI</a:t>
            </a:r>
          </a:p>
        </p:txBody>
      </p:sp>
      <p:pic>
        <p:nvPicPr>
          <p:cNvPr id="9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6300788"/>
            <a:ext cx="9144000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3"/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013" y="836613"/>
            <a:ext cx="7920037" cy="36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</p:spPr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93961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6376988"/>
            <a:ext cx="91440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1022350" y="-100013"/>
            <a:ext cx="8229600" cy="1143001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dirty="0"/>
              <a:t>Click to edit Master title style</a:t>
            </a:r>
          </a:p>
        </p:txBody>
      </p:sp>
      <p:cxnSp>
        <p:nvCxnSpPr>
          <p:cNvPr id="6" name="Straight Connector 5"/>
          <p:cNvCxnSpPr/>
          <p:nvPr/>
        </p:nvCxnSpPr>
        <p:spPr>
          <a:xfrm rot="5400000">
            <a:off x="642937" y="500063"/>
            <a:ext cx="714375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63" y="115888"/>
            <a:ext cx="871537" cy="696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Slide Number Placeholder 5"/>
          <p:cNvSpPr txBox="1">
            <a:spLocks/>
          </p:cNvSpPr>
          <p:nvPr/>
        </p:nvSpPr>
        <p:spPr>
          <a:xfrm>
            <a:off x="214313" y="6381750"/>
            <a:ext cx="21336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9092F99D-F4EF-423A-86BF-90889E564642}" type="slidenum">
              <a:rPr lang="en-US" smtClean="0"/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6572250" y="6400800"/>
            <a:ext cx="2249488" cy="4159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orat Jenderal Bea dan Cukai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menterian Keuangan RI</a:t>
            </a:r>
          </a:p>
        </p:txBody>
      </p:sp>
      <p:pic>
        <p:nvPicPr>
          <p:cNvPr id="10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6300788"/>
            <a:ext cx="9144000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3"/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013" y="836613"/>
            <a:ext cx="7920037" cy="36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>
            <a:lvl1pPr>
              <a:defRPr>
                <a:latin typeface="Arial" panose="020B0604020202020204" pitchFamily="34" charset="0"/>
                <a:ea typeface="Adobe Song Std L" pitchFamily="18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12070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3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3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2960" y="758953"/>
            <a:ext cx="75438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7368" spc="-46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5038" y="4455622"/>
            <a:ext cx="75438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210" cap="all" spc="185" baseline="0">
                <a:solidFill>
                  <a:schemeClr val="tx2"/>
                </a:solidFill>
                <a:latin typeface="+mj-lt"/>
              </a:defRPr>
            </a:lvl1pPr>
            <a:lvl2pPr marL="421094" indent="0" algn="ctr">
              <a:buNone/>
              <a:defRPr sz="2210"/>
            </a:lvl2pPr>
            <a:lvl3pPr marL="842188" indent="0" algn="ctr">
              <a:buNone/>
              <a:defRPr sz="2210"/>
            </a:lvl3pPr>
            <a:lvl4pPr marL="1263283" indent="0" algn="ctr">
              <a:buNone/>
              <a:defRPr sz="1842"/>
            </a:lvl4pPr>
            <a:lvl5pPr marL="1684377" indent="0" algn="ctr">
              <a:buNone/>
              <a:defRPr sz="1842"/>
            </a:lvl5pPr>
            <a:lvl6pPr marL="2105471" indent="0" algn="ctr">
              <a:buNone/>
              <a:defRPr sz="1842"/>
            </a:lvl6pPr>
            <a:lvl7pPr marL="2526565" indent="0" algn="ctr">
              <a:buNone/>
              <a:defRPr sz="1842"/>
            </a:lvl7pPr>
            <a:lvl8pPr marL="2947660" indent="0" algn="ctr">
              <a:buNone/>
              <a:defRPr sz="1842"/>
            </a:lvl8pPr>
            <a:lvl9pPr marL="3368754" indent="0" algn="ctr">
              <a:buNone/>
              <a:defRPr sz="1842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57C8B3-739D-449B-863D-5C0A3D12DE47}" type="datetimeFigureOut">
              <a:rPr lang="en-US" smtClean="0"/>
              <a:pPr/>
              <a:t>2/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E2E22B-5980-44C1-BBBD-A95F83A67CE6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905744" y="4343400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4169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6376988"/>
            <a:ext cx="91440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/>
        </p:nvCxnSpPr>
        <p:spPr>
          <a:xfrm rot="5400000">
            <a:off x="642937" y="500063"/>
            <a:ext cx="714375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63" y="115888"/>
            <a:ext cx="871537" cy="696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Slide Number Placeholder 5"/>
          <p:cNvSpPr txBox="1">
            <a:spLocks/>
          </p:cNvSpPr>
          <p:nvPr/>
        </p:nvSpPr>
        <p:spPr>
          <a:xfrm>
            <a:off x="214313" y="6381750"/>
            <a:ext cx="21336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819A61BB-348A-47CA-8A9D-B4F4A395BD59}" type="slidenum">
              <a:rPr lang="en-US" smtClean="0"/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572250" y="6400800"/>
            <a:ext cx="2249488" cy="4159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orat Jenderal Bea dan Cukai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menterian Keuangan RI</a:t>
            </a:r>
          </a:p>
        </p:txBody>
      </p:sp>
      <p:pic>
        <p:nvPicPr>
          <p:cNvPr id="9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6300788"/>
            <a:ext cx="9144000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2"/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013" y="836613"/>
            <a:ext cx="7920037" cy="36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022920" y="-99392"/>
            <a:ext cx="8229600" cy="1143000"/>
          </a:xfrm>
        </p:spPr>
        <p:txBody>
          <a:bodyPr>
            <a:normAutofit/>
          </a:bodyPr>
          <a:lstStyle>
            <a:lvl1pPr algn="l"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57200" y="1268760"/>
            <a:ext cx="8229600" cy="452596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2782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6376988"/>
            <a:ext cx="91440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1022350" y="-100013"/>
            <a:ext cx="8229600" cy="1143001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rot="5400000">
            <a:off x="642937" y="500063"/>
            <a:ext cx="714375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63" y="115888"/>
            <a:ext cx="871537" cy="696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Slide Number Placeholder 5"/>
          <p:cNvSpPr txBox="1">
            <a:spLocks/>
          </p:cNvSpPr>
          <p:nvPr/>
        </p:nvSpPr>
        <p:spPr>
          <a:xfrm>
            <a:off x="214313" y="6381750"/>
            <a:ext cx="21336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EE32A79E-8524-4A14-A731-DCBAC1A4B3A9}" type="slidenum">
              <a:rPr lang="en-US" smtClean="0"/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6572250" y="6400800"/>
            <a:ext cx="2249488" cy="4159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orat Jenderal Bea dan Cukai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menterian Keuangan RI</a:t>
            </a:r>
          </a:p>
        </p:txBody>
      </p:sp>
      <p:pic>
        <p:nvPicPr>
          <p:cNvPr id="9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6300788"/>
            <a:ext cx="9144000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3"/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013" y="836613"/>
            <a:ext cx="7920037" cy="36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827584" y="3140968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04340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6376988"/>
            <a:ext cx="91440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/>
        </p:nvCxnSpPr>
        <p:spPr>
          <a:xfrm rot="5400000">
            <a:off x="642937" y="500063"/>
            <a:ext cx="714375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63" y="115888"/>
            <a:ext cx="871537" cy="696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Slide Number Placeholder 5"/>
          <p:cNvSpPr txBox="1">
            <a:spLocks/>
          </p:cNvSpPr>
          <p:nvPr/>
        </p:nvSpPr>
        <p:spPr>
          <a:xfrm>
            <a:off x="214313" y="6381750"/>
            <a:ext cx="21336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696A6328-6FF8-4180-9235-FEE7E625AE8B}" type="slidenum">
              <a:rPr lang="en-US" smtClean="0"/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6572250" y="6400800"/>
            <a:ext cx="2249488" cy="4159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orat Jenderal Bea dan Cukai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menterian Keuangan RI</a:t>
            </a:r>
          </a:p>
        </p:txBody>
      </p:sp>
      <p:pic>
        <p:nvPicPr>
          <p:cNvPr id="10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6300788"/>
            <a:ext cx="9144000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2"/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013" y="836613"/>
            <a:ext cx="7920037" cy="36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1022920" y="-99392"/>
            <a:ext cx="8229600" cy="1143000"/>
          </a:xfrm>
        </p:spPr>
        <p:txBody>
          <a:bodyPr>
            <a:normAutofit/>
          </a:bodyPr>
          <a:lstStyle>
            <a:lvl1pPr algn="l"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1681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6376988"/>
            <a:ext cx="91440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7"/>
          <p:cNvCxnSpPr/>
          <p:nvPr/>
        </p:nvCxnSpPr>
        <p:spPr>
          <a:xfrm rot="5400000">
            <a:off x="642937" y="500063"/>
            <a:ext cx="714375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63" y="115888"/>
            <a:ext cx="871537" cy="696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Slide Number Placeholder 5"/>
          <p:cNvSpPr txBox="1">
            <a:spLocks/>
          </p:cNvSpPr>
          <p:nvPr/>
        </p:nvSpPr>
        <p:spPr>
          <a:xfrm>
            <a:off x="214313" y="6381750"/>
            <a:ext cx="21336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456CA03E-8CA9-4C61-AF28-E781D93F3D87}" type="slidenum">
              <a:rPr lang="en-US" smtClean="0"/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6572250" y="6400800"/>
            <a:ext cx="2249488" cy="4159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orat Jenderal Bea dan Cukai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menterian Keuangan RI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6300788"/>
            <a:ext cx="9144000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/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013" y="836613"/>
            <a:ext cx="7920037" cy="36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1022920" y="-99392"/>
            <a:ext cx="8229600" cy="1143000"/>
          </a:xfrm>
        </p:spPr>
        <p:txBody>
          <a:bodyPr>
            <a:normAutofit/>
          </a:bodyPr>
          <a:lstStyle>
            <a:lvl1pPr algn="l"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82021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6376988"/>
            <a:ext cx="91440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3"/>
          <p:cNvCxnSpPr/>
          <p:nvPr/>
        </p:nvCxnSpPr>
        <p:spPr>
          <a:xfrm rot="5400000">
            <a:off x="642937" y="500063"/>
            <a:ext cx="714375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63" y="115888"/>
            <a:ext cx="871537" cy="696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Slide Number Placeholder 5"/>
          <p:cNvSpPr txBox="1">
            <a:spLocks/>
          </p:cNvSpPr>
          <p:nvPr/>
        </p:nvSpPr>
        <p:spPr>
          <a:xfrm>
            <a:off x="214313" y="6381750"/>
            <a:ext cx="21336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1104F347-CD09-40B1-B982-1A05807D7409}" type="slidenum">
              <a:rPr lang="en-US" smtClean="0"/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6572250" y="6400800"/>
            <a:ext cx="2249488" cy="4159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orat Jenderal Bea dan Cukai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menterian Keuangan RI</a:t>
            </a:r>
          </a:p>
        </p:txBody>
      </p:sp>
      <p:pic>
        <p:nvPicPr>
          <p:cNvPr id="8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6300788"/>
            <a:ext cx="9144000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/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013" y="836613"/>
            <a:ext cx="7920037" cy="36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022920" y="-99392"/>
            <a:ext cx="8229600" cy="1143000"/>
          </a:xfrm>
        </p:spPr>
        <p:txBody>
          <a:bodyPr>
            <a:normAutofit/>
          </a:bodyPr>
          <a:lstStyle>
            <a:lvl1pPr algn="l"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35722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6376988"/>
            <a:ext cx="91440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3"/>
          <p:cNvCxnSpPr/>
          <p:nvPr/>
        </p:nvCxnSpPr>
        <p:spPr>
          <a:xfrm rot="5400000">
            <a:off x="642937" y="500063"/>
            <a:ext cx="714375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63" y="115888"/>
            <a:ext cx="871537" cy="696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Slide Number Placeholder 5"/>
          <p:cNvSpPr txBox="1">
            <a:spLocks/>
          </p:cNvSpPr>
          <p:nvPr/>
        </p:nvSpPr>
        <p:spPr>
          <a:xfrm>
            <a:off x="214313" y="6381750"/>
            <a:ext cx="21336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14C0BDCC-809D-48DD-BDD4-F00D19388DFA}" type="slidenum">
              <a:rPr lang="en-US" smtClean="0"/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6572250" y="6400800"/>
            <a:ext cx="2249488" cy="4159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orat Jenderal Bea dan Cukai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menterian Keuangan RI</a:t>
            </a:r>
          </a:p>
        </p:txBody>
      </p:sp>
      <p:pic>
        <p:nvPicPr>
          <p:cNvPr id="8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6300788"/>
            <a:ext cx="9144000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/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013" y="836613"/>
            <a:ext cx="7920037" cy="36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022920" y="-99392"/>
            <a:ext cx="8229600" cy="1143000"/>
          </a:xfrm>
        </p:spPr>
        <p:txBody>
          <a:bodyPr>
            <a:normAutofit/>
          </a:bodyPr>
          <a:lstStyle>
            <a:lvl1pPr algn="l"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26800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6376988"/>
            <a:ext cx="91440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/>
        </p:nvCxnSpPr>
        <p:spPr>
          <a:xfrm rot="5400000">
            <a:off x="642937" y="500063"/>
            <a:ext cx="714375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63" y="115888"/>
            <a:ext cx="871537" cy="696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Slide Number Placeholder 5"/>
          <p:cNvSpPr txBox="1">
            <a:spLocks/>
          </p:cNvSpPr>
          <p:nvPr/>
        </p:nvSpPr>
        <p:spPr>
          <a:xfrm>
            <a:off x="214313" y="6381750"/>
            <a:ext cx="21336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E653E7D2-F464-49D7-9173-EAB8B788245A}" type="slidenum">
              <a:rPr lang="en-US" smtClean="0"/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6572250" y="6400800"/>
            <a:ext cx="2249488" cy="4159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orat Jenderal Bea dan Cukai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menterian Keuangan RI</a:t>
            </a:r>
          </a:p>
        </p:txBody>
      </p:sp>
      <p:pic>
        <p:nvPicPr>
          <p:cNvPr id="10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6300788"/>
            <a:ext cx="9144000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2"/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013" y="836613"/>
            <a:ext cx="7920037" cy="36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032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6376988"/>
            <a:ext cx="91440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/>
        </p:nvCxnSpPr>
        <p:spPr>
          <a:xfrm rot="5400000">
            <a:off x="642937" y="500063"/>
            <a:ext cx="714375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63" y="115888"/>
            <a:ext cx="871537" cy="696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Slide Number Placeholder 5"/>
          <p:cNvSpPr txBox="1">
            <a:spLocks/>
          </p:cNvSpPr>
          <p:nvPr/>
        </p:nvSpPr>
        <p:spPr>
          <a:xfrm>
            <a:off x="214313" y="6381750"/>
            <a:ext cx="21336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fld id="{B5EEDFF6-B412-4223-B9C6-7297EE1530A7}" type="slidenum">
              <a:rPr lang="en-US" smtClean="0"/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6572250" y="6400800"/>
            <a:ext cx="2249488" cy="4159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orat Jenderal Bea dan Cukai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menterian Keuangan RI</a:t>
            </a:r>
          </a:p>
        </p:txBody>
      </p:sp>
      <p:pic>
        <p:nvPicPr>
          <p:cNvPr id="10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6300788"/>
            <a:ext cx="9144000" cy="7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2"/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013" y="836613"/>
            <a:ext cx="7920037" cy="36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5455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B41E2B5-D0CC-4158-8787-D3C8BB7E0571}" type="datetimeFigureOut">
              <a:rPr lang="en-US"/>
              <a:pPr>
                <a:defRPr/>
              </a:pPr>
              <a:t>2/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EDEF347-7597-4F5C-9553-8D6E53F959F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tif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7" Type="http://schemas.openxmlformats.org/officeDocument/2006/relationships/image" Target="../media/image11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.png"/><Relationship Id="rId5" Type="http://schemas.openxmlformats.org/officeDocument/2006/relationships/image" Target="../media/image6.png"/><Relationship Id="rId4" Type="http://schemas.openxmlformats.org/officeDocument/2006/relationships/image" Target="../media/image4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7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g"/><Relationship Id="rId7" Type="http://schemas.openxmlformats.org/officeDocument/2006/relationships/image" Target="../media/image5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jpeg"/><Relationship Id="rId5" Type="http://schemas.openxmlformats.org/officeDocument/2006/relationships/image" Target="../media/image54.jpeg"/><Relationship Id="rId4" Type="http://schemas.openxmlformats.org/officeDocument/2006/relationships/image" Target="../media/image53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11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3" Type="http://schemas.openxmlformats.org/officeDocument/2006/relationships/image" Target="../media/image6.png"/><Relationship Id="rId7" Type="http://schemas.openxmlformats.org/officeDocument/2006/relationships/diagramLayout" Target="../diagrams/layout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diagramData" Target="../diagrams/data4.xml"/><Relationship Id="rId11" Type="http://schemas.openxmlformats.org/officeDocument/2006/relationships/image" Target="../media/image11.png"/><Relationship Id="rId5" Type="http://schemas.openxmlformats.org/officeDocument/2006/relationships/image" Target="../media/image7.png"/><Relationship Id="rId10" Type="http://schemas.microsoft.com/office/2007/relationships/diagramDrawing" Target="../diagrams/drawing4.xml"/><Relationship Id="rId4" Type="http://schemas.openxmlformats.org/officeDocument/2006/relationships/image" Target="../media/image8.png"/><Relationship Id="rId9" Type="http://schemas.openxmlformats.org/officeDocument/2006/relationships/diagramColors" Target="../diagrams/colors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7.wmf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png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png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png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png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59.png"/><Relationship Id="rId7" Type="http://schemas.openxmlformats.org/officeDocument/2006/relationships/image" Target="../media/image7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5" Type="http://schemas.openxmlformats.org/officeDocument/2006/relationships/image" Target="../media/image6.png"/><Relationship Id="rId4" Type="http://schemas.microsoft.com/office/2007/relationships/hdphoto" Target="../media/hdphoto3.wdp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microsoft.com/office/2007/relationships/hdphoto" Target="../media/hdphoto3.wdp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9.png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6.png"/><Relationship Id="rId7" Type="http://schemas.openxmlformats.org/officeDocument/2006/relationships/image" Target="../media/image13.jpeg"/><Relationship Id="rId12" Type="http://schemas.openxmlformats.org/officeDocument/2006/relationships/image" Target="../media/image1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jpeg"/><Relationship Id="rId11" Type="http://schemas.openxmlformats.org/officeDocument/2006/relationships/image" Target="../media/image16.jpeg"/><Relationship Id="rId5" Type="http://schemas.openxmlformats.org/officeDocument/2006/relationships/image" Target="../media/image7.png"/><Relationship Id="rId10" Type="http://schemas.openxmlformats.org/officeDocument/2006/relationships/image" Target="../media/image11.png"/><Relationship Id="rId4" Type="http://schemas.openxmlformats.org/officeDocument/2006/relationships/image" Target="../media/image8.png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9.jpeg"/><Relationship Id="rId12" Type="http://schemas.openxmlformats.org/officeDocument/2006/relationships/image" Target="../media/image2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11" Type="http://schemas.openxmlformats.org/officeDocument/2006/relationships/image" Target="../media/image22.jpeg"/><Relationship Id="rId5" Type="http://schemas.openxmlformats.org/officeDocument/2006/relationships/image" Target="../media/image7.png"/><Relationship Id="rId10" Type="http://schemas.openxmlformats.org/officeDocument/2006/relationships/image" Target="../media/image21.png"/><Relationship Id="rId4" Type="http://schemas.openxmlformats.org/officeDocument/2006/relationships/image" Target="../media/image8.png"/><Relationship Id="rId9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png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jpeg"/><Relationship Id="rId18" Type="http://schemas.openxmlformats.org/officeDocument/2006/relationships/image" Target="../media/image36.png"/><Relationship Id="rId3" Type="http://schemas.openxmlformats.org/officeDocument/2006/relationships/image" Target="../media/image6.png"/><Relationship Id="rId21" Type="http://schemas.openxmlformats.org/officeDocument/2006/relationships/image" Target="../media/image39.jpeg"/><Relationship Id="rId7" Type="http://schemas.openxmlformats.org/officeDocument/2006/relationships/image" Target="../media/image25.png"/><Relationship Id="rId12" Type="http://schemas.openxmlformats.org/officeDocument/2006/relationships/image" Target="../media/image30.jpeg"/><Relationship Id="rId17" Type="http://schemas.openxmlformats.org/officeDocument/2006/relationships/image" Target="../media/image35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34.png"/><Relationship Id="rId20" Type="http://schemas.openxmlformats.org/officeDocument/2006/relationships/image" Target="../media/image3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4.png"/><Relationship Id="rId11" Type="http://schemas.openxmlformats.org/officeDocument/2006/relationships/image" Target="../media/image29.jpeg"/><Relationship Id="rId5" Type="http://schemas.openxmlformats.org/officeDocument/2006/relationships/image" Target="../media/image7.png"/><Relationship Id="rId15" Type="http://schemas.openxmlformats.org/officeDocument/2006/relationships/image" Target="../media/image33.png"/><Relationship Id="rId10" Type="http://schemas.openxmlformats.org/officeDocument/2006/relationships/image" Target="../media/image28.png"/><Relationship Id="rId19" Type="http://schemas.openxmlformats.org/officeDocument/2006/relationships/image" Target="../media/image37.png"/><Relationship Id="rId4" Type="http://schemas.openxmlformats.org/officeDocument/2006/relationships/image" Target="../media/image8.png"/><Relationship Id="rId9" Type="http://schemas.openxmlformats.org/officeDocument/2006/relationships/image" Target="../media/image27.jpeg"/><Relationship Id="rId14" Type="http://schemas.openxmlformats.org/officeDocument/2006/relationships/image" Target="../media/image32.jpeg"/><Relationship Id="rId22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4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0.jpeg"/><Relationship Id="rId5" Type="http://schemas.openxmlformats.org/officeDocument/2006/relationships/image" Target="../media/image7.png"/><Relationship Id="rId4" Type="http://schemas.openxmlformats.org/officeDocument/2006/relationships/image" Target="../media/image8.png"/><Relationship Id="rId9" Type="http://schemas.openxmlformats.org/officeDocument/2006/relationships/image" Target="../media/image42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image" Target="../media/image6.png"/><Relationship Id="rId7" Type="http://schemas.openxmlformats.org/officeDocument/2006/relationships/diagramLayout" Target="../diagrams/layout1.xml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diagramData" Target="../diagrams/data1.xml"/><Relationship Id="rId11" Type="http://schemas.openxmlformats.org/officeDocument/2006/relationships/image" Target="../media/image43.png"/><Relationship Id="rId5" Type="http://schemas.openxmlformats.org/officeDocument/2006/relationships/image" Target="../media/image7.png"/><Relationship Id="rId10" Type="http://schemas.microsoft.com/office/2007/relationships/diagramDrawing" Target="../diagrams/drawing1.xml"/><Relationship Id="rId4" Type="http://schemas.openxmlformats.org/officeDocument/2006/relationships/image" Target="../media/image8.png"/><Relationship Id="rId9" Type="http://schemas.openxmlformats.org/officeDocument/2006/relationships/diagramColors" Target="../diagrams/colors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microsoft.com/office/2007/relationships/hdphoto" Target="../media/hdphoto2.wdp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4.png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40133" y="1828800"/>
            <a:ext cx="7772400" cy="1537176"/>
          </a:xfrm>
        </p:spPr>
        <p:txBody>
          <a:bodyPr anchor="t"/>
          <a:lstStyle/>
          <a:p>
            <a:r>
              <a:rPr lang="en-US" b="1" baseline="-25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aramond" panose="02020404030301010803" pitchFamily="18" charset="0"/>
              </a:rPr>
              <a:t>SOSIALISASI</a:t>
            </a:r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aramond" panose="02020404030301010803" pitchFamily="18" charset="0"/>
              </a:rPr>
              <a:t> </a:t>
            </a:r>
            <a:r>
              <a:rPr lang="en-US" b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aramond" panose="02020404030301010803" pitchFamily="18" charset="0"/>
              </a:rPr>
              <a:t/>
            </a:r>
            <a:br>
              <a:rPr lang="en-US" b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aramond" panose="02020404030301010803" pitchFamily="18" charset="0"/>
              </a:rPr>
            </a:br>
            <a:r>
              <a:rPr lang="en-US" sz="4000" b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aramond" panose="02020404030301010803" pitchFamily="18" charset="0"/>
              </a:rPr>
              <a:t>AUTHORIZED ECONOMIC OPERATOR</a:t>
            </a:r>
            <a:r>
              <a:rPr lang="id-ID" sz="4000" b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aramond" panose="02020404030301010803" pitchFamily="18" charset="0"/>
              </a:rPr>
              <a:t/>
            </a:r>
            <a:br>
              <a:rPr lang="id-ID" sz="4000" b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aramond" panose="02020404030301010803" pitchFamily="18" charset="0"/>
              </a:rPr>
            </a:br>
            <a:r>
              <a:rPr lang="id-ID" sz="3200" b="1" baseline="-2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aramond" panose="02020404030301010803" pitchFamily="18" charset="0"/>
              </a:rPr>
              <a:t>(OPERATOR EKONOMI BERSERTIFIKAT)</a:t>
            </a:r>
            <a:endParaRPr lang="en-AU" sz="3200" b="1" baseline="-25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aramond" panose="02020404030301010803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4114800"/>
            <a:ext cx="2895600" cy="1828800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6248400" y="152400"/>
            <a:ext cx="2727960" cy="1408104"/>
            <a:chOff x="7107178" y="-11192"/>
            <a:chExt cx="3855755" cy="2063632"/>
          </a:xfrm>
        </p:grpSpPr>
        <p:pic>
          <p:nvPicPr>
            <p:cNvPr id="8" name="Picture 7" descr="Image result for international customs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7178" y="-11192"/>
              <a:ext cx="3855755" cy="2063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97477" y="151670"/>
              <a:ext cx="1866634" cy="1392034"/>
            </a:xfrm>
            <a:prstGeom prst="rect">
              <a:avLst/>
            </a:prstGeom>
            <a:effectLst>
              <a:softEdge rad="12700"/>
            </a:effectLst>
          </p:spPr>
        </p:pic>
      </p:grpSp>
      <p:sp>
        <p:nvSpPr>
          <p:cNvPr id="13" name="TextBox 12"/>
          <p:cNvSpPr txBox="1"/>
          <p:nvPr/>
        </p:nvSpPr>
        <p:spPr>
          <a:xfrm>
            <a:off x="6019800" y="5486400"/>
            <a:ext cx="2819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latin typeface="Garamond" charset="0"/>
                <a:ea typeface="Garamond" charset="0"/>
                <a:cs typeface="Garamond" charset="0"/>
              </a:rPr>
              <a:t>AUDITORIUM MERAUKE</a:t>
            </a:r>
          </a:p>
          <a:p>
            <a:r>
              <a:rPr lang="en-US" sz="1600" b="1" dirty="0" smtClean="0">
                <a:latin typeface="Garamond" charset="0"/>
                <a:ea typeface="Garamond" charset="0"/>
                <a:cs typeface="Garamond" charset="0"/>
              </a:rPr>
              <a:t>KP DJBC</a:t>
            </a:r>
            <a:r>
              <a:rPr lang="en-US" sz="1600" b="1" dirty="0">
                <a:latin typeface="Garamond" charset="0"/>
                <a:ea typeface="Garamond" charset="0"/>
                <a:cs typeface="Garamond" charset="0"/>
              </a:rPr>
              <a:t>,  </a:t>
            </a:r>
            <a:r>
              <a:rPr lang="en-US" sz="1600" b="1" dirty="0" smtClean="0">
                <a:latin typeface="Garamond" charset="0"/>
                <a:ea typeface="Garamond" charset="0"/>
                <a:cs typeface="Garamond" charset="0"/>
              </a:rPr>
              <a:t>02  </a:t>
            </a:r>
            <a:r>
              <a:rPr lang="en-US" sz="1600" b="1" dirty="0" smtClean="0">
                <a:latin typeface="Garamond" charset="0"/>
                <a:ea typeface="Garamond" charset="0"/>
                <a:cs typeface="Garamond" charset="0"/>
              </a:rPr>
              <a:t>FEBRUARI 2017</a:t>
            </a:r>
            <a:endParaRPr lang="en-US" sz="1600" b="1" dirty="0">
              <a:latin typeface="Garamond" charset="0"/>
              <a:ea typeface="Garamond" charset="0"/>
              <a:cs typeface="Garamon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678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6989" y="1145755"/>
            <a:ext cx="7457684" cy="477496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7315" y="1237172"/>
            <a:ext cx="3256184" cy="4501019"/>
          </a:xfrm>
          <a:prstGeom prst="rect">
            <a:avLst/>
          </a:prstGeom>
        </p:spPr>
      </p:pic>
      <p:sp>
        <p:nvSpPr>
          <p:cNvPr id="4" name="Oval 3"/>
          <p:cNvSpPr/>
          <p:nvPr/>
        </p:nvSpPr>
        <p:spPr>
          <a:xfrm>
            <a:off x="2406434" y="5526567"/>
            <a:ext cx="537519" cy="216244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1694918" y="4102593"/>
            <a:ext cx="776875" cy="1502122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723" y="3128227"/>
            <a:ext cx="952461" cy="969980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  <a:bevelB prst="convex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3647948" y="5729831"/>
            <a:ext cx="5010665" cy="400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/>
              <a:t> </a:t>
            </a:r>
            <a:r>
              <a:rPr lang="en-US" sz="1002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mber</a:t>
            </a:r>
            <a:r>
              <a:rPr lang="en-US" sz="1002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: </a:t>
            </a:r>
            <a:r>
              <a:rPr lang="en-US" sz="1002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PENDIUM 2016 of Authorized Economic Operator </a:t>
            </a:r>
            <a:r>
              <a:rPr lang="en-US" sz="1002" b="1" i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mes</a:t>
            </a:r>
            <a:r>
              <a:rPr lang="en-US" sz="1002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en-US" sz="1002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ri</a:t>
            </a:r>
            <a:r>
              <a:rPr lang="en-US" sz="1002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002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orld Customs Organization</a:t>
            </a:r>
            <a:r>
              <a:rPr lang="en-US" sz="1002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en-US" sz="1002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disi</a:t>
            </a:r>
            <a:r>
              <a:rPr lang="en-US" sz="1002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6 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55415" y="967997"/>
            <a:ext cx="8872022" cy="6189379"/>
            <a:chOff x="-3175" y="152400"/>
            <a:chExt cx="9150350" cy="6719888"/>
          </a:xfrm>
        </p:grpSpPr>
        <p:pic>
          <p:nvPicPr>
            <p:cNvPr id="13" name="Picture 6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-3175" y="6376988"/>
              <a:ext cx="9144000" cy="495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4" name="Slide Number Placeholder 5"/>
            <p:cNvSpPr txBox="1">
              <a:spLocks/>
            </p:cNvSpPr>
            <p:nvPr/>
          </p:nvSpPr>
          <p:spPr>
            <a:xfrm>
              <a:off x="214313" y="6381750"/>
              <a:ext cx="2133600" cy="365125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EB3DBFA5-2FB4-48DD-BE63-D917D46CC28C}" type="slidenum">
                <a:rPr lang="en-US" sz="1002"/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10</a:t>
              </a:fld>
              <a:endParaRPr lang="en-US" sz="1002" dirty="0"/>
            </a:p>
          </p:txBody>
        </p:sp>
        <p:pic>
          <p:nvPicPr>
            <p:cNvPr id="16" name="Picture 11"/>
            <p:cNvPicPr>
              <a:picLocks noChangeAspect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175" y="6300788"/>
              <a:ext cx="9144000" cy="76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" name="Picture 12"/>
            <p:cNvPicPr preferRelativeResize="0">
              <a:picLocks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223963" y="838200"/>
              <a:ext cx="7920037" cy="36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9" name="Straight Connector 18"/>
            <p:cNvCxnSpPr/>
            <p:nvPr/>
          </p:nvCxnSpPr>
          <p:spPr>
            <a:xfrm rot="5400000">
              <a:off x="709612" y="509588"/>
              <a:ext cx="714375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Rectangle 19"/>
          <p:cNvSpPr/>
          <p:nvPr/>
        </p:nvSpPr>
        <p:spPr>
          <a:xfrm>
            <a:off x="1362368" y="231916"/>
            <a:ext cx="5689378" cy="45230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AU" sz="2339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</a:rPr>
              <a:t>POSISI AEO INDONESIA DI DUNIA</a:t>
            </a:r>
            <a:endParaRPr lang="id-ID" sz="2339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416" y="111699"/>
            <a:ext cx="938513" cy="699892"/>
          </a:xfrm>
          <a:prstGeom prst="rect">
            <a:avLst/>
          </a:prstGeom>
          <a:effectLst>
            <a:softEdge rad="12700"/>
          </a:effectLst>
        </p:spPr>
      </p:pic>
    </p:spTree>
    <p:extLst>
      <p:ext uri="{BB962C8B-B14F-4D97-AF65-F5344CB8AC3E}">
        <p14:creationId xmlns:p14="http://schemas.microsoft.com/office/powerpoint/2010/main" val="779139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5316" y="944554"/>
            <a:ext cx="8308404" cy="519204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2674" y="2071944"/>
            <a:ext cx="2878932" cy="265747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26185" y="1672299"/>
            <a:ext cx="2857500" cy="1371600"/>
          </a:xfrm>
          <a:prstGeom prst="rect">
            <a:avLst/>
          </a:prstGeom>
        </p:spPr>
      </p:pic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9261" y="4331320"/>
            <a:ext cx="1189530" cy="1006801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65100" prst="coolSlant"/>
            <a:bevelB prst="convex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val 6"/>
          <p:cNvSpPr/>
          <p:nvPr/>
        </p:nvSpPr>
        <p:spPr>
          <a:xfrm>
            <a:off x="1030070" y="4477631"/>
            <a:ext cx="253314" cy="21624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" name="Oval 7"/>
          <p:cNvSpPr/>
          <p:nvPr/>
        </p:nvSpPr>
        <p:spPr>
          <a:xfrm>
            <a:off x="4495314" y="2765853"/>
            <a:ext cx="253314" cy="21624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cxnSp>
        <p:nvCxnSpPr>
          <p:cNvPr id="9" name="Straight Arrow Connector 8"/>
          <p:cNvCxnSpPr/>
          <p:nvPr/>
        </p:nvCxnSpPr>
        <p:spPr>
          <a:xfrm flipH="1" flipV="1">
            <a:off x="4701928" y="2963615"/>
            <a:ext cx="376027" cy="135670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 flipV="1">
            <a:off x="1316041" y="4679682"/>
            <a:ext cx="3123222" cy="323261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8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479869" y="1818754"/>
            <a:ext cx="2681417" cy="196208"/>
          </a:xfrm>
          <a:noFill/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 marL="366550"/>
            <a:r>
              <a:rPr lang="en-US" sz="15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cs typeface="Aharoni" pitchFamily="2" charset="-79"/>
              </a:rPr>
              <a:t>LEVEL ASIA PASIFIK</a:t>
            </a:r>
          </a:p>
        </p:txBody>
      </p:sp>
      <p:sp>
        <p:nvSpPr>
          <p:cNvPr id="18" name="Rectangle 1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095286" y="1390154"/>
            <a:ext cx="2489886" cy="196208"/>
          </a:xfrm>
          <a:prstGeom prst="rect">
            <a:avLst/>
          </a:prstGeom>
          <a:noFill/>
          <a:ln w="10000" cap="flat" cmpd="sng" algn="ctr">
            <a:noFill/>
            <a:prstDash val="solid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6550"/>
            <a:r>
              <a:rPr lang="en-US" sz="15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cs typeface="Aharoni" pitchFamily="2" charset="-79"/>
              </a:rPr>
              <a:t>LEVEL ASEAN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928968" y="5526102"/>
            <a:ext cx="5181359" cy="5161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750" dirty="0"/>
          </a:p>
          <a:p>
            <a:r>
              <a:rPr lang="en-US" sz="750" dirty="0"/>
              <a:t> </a:t>
            </a:r>
            <a:r>
              <a:rPr lang="en-US" sz="1002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mber</a:t>
            </a:r>
            <a:r>
              <a:rPr lang="en-US" sz="1002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: </a:t>
            </a:r>
            <a:r>
              <a:rPr lang="en-US" sz="1002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PENDIUM 2016 of Authorized Economic Operator </a:t>
            </a:r>
            <a:r>
              <a:rPr lang="en-US" sz="1002" b="1" i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mes</a:t>
            </a:r>
            <a:r>
              <a:rPr lang="en-US" sz="1002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en-US" sz="1002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ri</a:t>
            </a:r>
            <a:r>
              <a:rPr lang="en-US" sz="1002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002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orld Customs Organization</a:t>
            </a:r>
            <a:r>
              <a:rPr lang="en-US" sz="1002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en-US" sz="1002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disi</a:t>
            </a:r>
            <a:r>
              <a:rPr lang="en-US" sz="1002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6 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311416" y="231670"/>
            <a:ext cx="6781023" cy="45230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AU" sz="2339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</a:rPr>
              <a:t>POSISI AEO INDONESIA DI ASIA PASIFIK</a:t>
            </a:r>
            <a:endParaRPr lang="id-ID" sz="2339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1667" y="165449"/>
            <a:ext cx="784105" cy="584743"/>
          </a:xfrm>
          <a:prstGeom prst="rect">
            <a:avLst/>
          </a:prstGeom>
          <a:effectLst>
            <a:softEdge rad="12700"/>
          </a:effectLst>
        </p:spPr>
      </p:pic>
    </p:spTree>
    <p:extLst>
      <p:ext uri="{BB962C8B-B14F-4D97-AF65-F5344CB8AC3E}">
        <p14:creationId xmlns:p14="http://schemas.microsoft.com/office/powerpoint/2010/main" val="1787915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830" y="5245232"/>
            <a:ext cx="8085192" cy="955226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676" b="1" dirty="0">
                <a:latin typeface="Garamond" charset="0"/>
                <a:ea typeface="Garamond" charset="0"/>
                <a:cs typeface="Garamond" charset="0"/>
              </a:rPr>
              <a:t/>
            </a:r>
            <a:br>
              <a:rPr lang="en-US" sz="3676" b="1" dirty="0">
                <a:latin typeface="Garamond" charset="0"/>
                <a:ea typeface="Garamond" charset="0"/>
                <a:cs typeface="Garamond" charset="0"/>
              </a:rPr>
            </a:br>
            <a:r>
              <a:rPr lang="en-US" sz="4000" b="1" dirty="0" smtClean="0">
                <a:latin typeface="Garamond" charset="0"/>
                <a:ea typeface="Garamond" charset="0"/>
                <a:cs typeface="Garamond" charset="0"/>
              </a:rPr>
              <a:t>INTANGIBLE BENEFITS</a:t>
            </a:r>
            <a:endParaRPr lang="en-US" sz="4000" b="1" dirty="0">
              <a:latin typeface="Garamond" charset="0"/>
              <a:ea typeface="Garamond" charset="0"/>
              <a:cs typeface="Garamond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9975" y="57736"/>
            <a:ext cx="977234" cy="800169"/>
          </a:xfrm>
          <a:prstGeom prst="rect">
            <a:avLst/>
          </a:prstGeom>
          <a:effectLst>
            <a:softEdge rad="12700"/>
          </a:effectLst>
        </p:spPr>
      </p:pic>
      <p:sp>
        <p:nvSpPr>
          <p:cNvPr id="12" name="Rectangle 11"/>
          <p:cNvSpPr/>
          <p:nvPr/>
        </p:nvSpPr>
        <p:spPr>
          <a:xfrm>
            <a:off x="1311416" y="231670"/>
            <a:ext cx="6748963" cy="45230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AU" sz="2339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</a:rPr>
              <a:t>AEO BENEFITS UNTUK PENGGUNA JASA</a:t>
            </a:r>
            <a:endParaRPr lang="id-ID" sz="2339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</a:endParaRPr>
          </a:p>
        </p:txBody>
      </p:sp>
      <p:pic>
        <p:nvPicPr>
          <p:cNvPr id="13" name="Content Placeholder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2262" y="3192744"/>
            <a:ext cx="2438400" cy="1978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0662" y="1901850"/>
            <a:ext cx="2895600" cy="2667000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5778183" y="2130816"/>
            <a:ext cx="32004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AU" sz="2000" b="1" dirty="0">
                <a:latin typeface="Garamond" charset="0"/>
                <a:ea typeface="Garamond" charset="0"/>
                <a:cs typeface="Garamond" charset="0"/>
              </a:rPr>
              <a:t>Perusahaan AEO </a:t>
            </a:r>
            <a:r>
              <a:rPr lang="en-AU" sz="2000" b="1" dirty="0" err="1">
                <a:latin typeface="Garamond" charset="0"/>
                <a:ea typeface="Garamond" charset="0"/>
                <a:cs typeface="Garamond" charset="0"/>
              </a:rPr>
              <a:t>akan</a:t>
            </a:r>
            <a:r>
              <a:rPr lang="en-AU" sz="2000" b="1" dirty="0">
                <a:latin typeface="Garamond" charset="0"/>
                <a:ea typeface="Garamond" charset="0"/>
                <a:cs typeface="Garamond" charset="0"/>
              </a:rPr>
              <a:t> </a:t>
            </a:r>
            <a:r>
              <a:rPr lang="en-AU" sz="2000" b="1" dirty="0" err="1">
                <a:latin typeface="Garamond" charset="0"/>
                <a:ea typeface="Garamond" charset="0"/>
                <a:cs typeface="Garamond" charset="0"/>
              </a:rPr>
              <a:t>diakui</a:t>
            </a:r>
            <a:r>
              <a:rPr lang="en-AU" sz="2000" b="1" dirty="0">
                <a:latin typeface="Garamond" charset="0"/>
                <a:ea typeface="Garamond" charset="0"/>
                <a:cs typeface="Garamond" charset="0"/>
              </a:rPr>
              <a:t> di </a:t>
            </a:r>
            <a:r>
              <a:rPr lang="en-AU" sz="2000" b="1" dirty="0" err="1">
                <a:latin typeface="Garamond" charset="0"/>
                <a:ea typeface="Garamond" charset="0"/>
                <a:cs typeface="Garamond" charset="0"/>
              </a:rPr>
              <a:t>seluruh</a:t>
            </a:r>
            <a:r>
              <a:rPr lang="en-AU" sz="2000" b="1" dirty="0">
                <a:latin typeface="Garamond" charset="0"/>
                <a:ea typeface="Garamond" charset="0"/>
                <a:cs typeface="Garamond" charset="0"/>
              </a:rPr>
              <a:t> </a:t>
            </a:r>
            <a:r>
              <a:rPr lang="en-AU" sz="2000" b="1" dirty="0" err="1">
                <a:latin typeface="Garamond" charset="0"/>
                <a:ea typeface="Garamond" charset="0"/>
                <a:cs typeface="Garamond" charset="0"/>
              </a:rPr>
              <a:t>dunia</a:t>
            </a:r>
            <a:r>
              <a:rPr lang="en-AU" sz="2000" b="1" dirty="0">
                <a:latin typeface="Garamond" charset="0"/>
                <a:ea typeface="Garamond" charset="0"/>
                <a:cs typeface="Garamond" charset="0"/>
              </a:rPr>
              <a:t> </a:t>
            </a:r>
            <a:r>
              <a:rPr lang="en-AU" sz="2000" b="1" dirty="0" err="1">
                <a:latin typeface="Garamond" charset="0"/>
                <a:ea typeface="Garamond" charset="0"/>
                <a:cs typeface="Garamond" charset="0"/>
              </a:rPr>
              <a:t>sebagai</a:t>
            </a:r>
            <a:r>
              <a:rPr lang="en-AU" sz="2000" b="1" dirty="0">
                <a:latin typeface="Garamond" charset="0"/>
                <a:ea typeface="Garamond" charset="0"/>
                <a:cs typeface="Garamond" charset="0"/>
              </a:rPr>
              <a:t> </a:t>
            </a:r>
            <a:r>
              <a:rPr lang="en-AU" sz="2000" b="1" dirty="0" err="1">
                <a:latin typeface="Garamond" charset="0"/>
                <a:ea typeface="Garamond" charset="0"/>
                <a:cs typeface="Garamond" charset="0"/>
              </a:rPr>
              <a:t>perusahaan</a:t>
            </a:r>
            <a:r>
              <a:rPr lang="en-AU" sz="2000" b="1" dirty="0">
                <a:latin typeface="Garamond" charset="0"/>
                <a:ea typeface="Garamond" charset="0"/>
                <a:cs typeface="Garamond" charset="0"/>
              </a:rPr>
              <a:t> yang </a:t>
            </a:r>
            <a:r>
              <a:rPr lang="en-AU" sz="2000" b="1" i="1" dirty="0">
                <a:latin typeface="Garamond" charset="0"/>
                <a:ea typeface="Garamond" charset="0"/>
                <a:cs typeface="Garamond" charset="0"/>
              </a:rPr>
              <a:t>safe and secure </a:t>
            </a:r>
            <a:r>
              <a:rPr lang="en-AU" sz="2000" b="1" dirty="0" err="1">
                <a:latin typeface="Garamond" charset="0"/>
                <a:ea typeface="Garamond" charset="0"/>
                <a:cs typeface="Garamond" charset="0"/>
              </a:rPr>
              <a:t>serta</a:t>
            </a:r>
            <a:r>
              <a:rPr lang="en-AU" sz="2000" b="1" dirty="0">
                <a:latin typeface="Garamond" charset="0"/>
                <a:ea typeface="Garamond" charset="0"/>
                <a:cs typeface="Garamond" charset="0"/>
              </a:rPr>
              <a:t> </a:t>
            </a:r>
            <a:r>
              <a:rPr lang="en-AU" sz="2000" b="1" dirty="0" err="1">
                <a:latin typeface="Garamond" charset="0"/>
                <a:ea typeface="Garamond" charset="0"/>
                <a:cs typeface="Garamond" charset="0"/>
              </a:rPr>
              <a:t>sebagai</a:t>
            </a:r>
            <a:r>
              <a:rPr lang="en-AU" sz="2000" b="1" dirty="0">
                <a:latin typeface="Garamond" charset="0"/>
                <a:ea typeface="Garamond" charset="0"/>
                <a:cs typeface="Garamond" charset="0"/>
              </a:rPr>
              <a:t> </a:t>
            </a:r>
            <a:r>
              <a:rPr lang="en-AU" sz="2000" b="1" dirty="0" err="1">
                <a:latin typeface="Garamond" charset="0"/>
                <a:ea typeface="Garamond" charset="0"/>
                <a:cs typeface="Garamond" charset="0"/>
              </a:rPr>
              <a:t>mitra</a:t>
            </a:r>
            <a:r>
              <a:rPr lang="en-AU" sz="2000" b="1" dirty="0">
                <a:latin typeface="Garamond" charset="0"/>
                <a:ea typeface="Garamond" charset="0"/>
                <a:cs typeface="Garamond" charset="0"/>
              </a:rPr>
              <a:t> </a:t>
            </a:r>
            <a:r>
              <a:rPr lang="en-AU" sz="2000" b="1" dirty="0" err="1">
                <a:latin typeface="Garamond" charset="0"/>
                <a:ea typeface="Garamond" charset="0"/>
                <a:cs typeface="Garamond" charset="0"/>
              </a:rPr>
              <a:t>bisnis</a:t>
            </a:r>
            <a:r>
              <a:rPr lang="en-AU" sz="2000" b="1" dirty="0">
                <a:latin typeface="Garamond" charset="0"/>
                <a:ea typeface="Garamond" charset="0"/>
                <a:cs typeface="Garamond" charset="0"/>
              </a:rPr>
              <a:t> yang </a:t>
            </a:r>
            <a:r>
              <a:rPr lang="en-AU" sz="2000" b="1" dirty="0" err="1">
                <a:latin typeface="Garamond" charset="0"/>
                <a:ea typeface="Garamond" charset="0"/>
                <a:cs typeface="Garamond" charset="0"/>
              </a:rPr>
              <a:t>patuh</a:t>
            </a:r>
            <a:r>
              <a:rPr lang="en-AU" sz="2000" b="1" dirty="0">
                <a:latin typeface="Garamond" charset="0"/>
                <a:ea typeface="Garamond" charset="0"/>
                <a:cs typeface="Garamond" charset="0"/>
              </a:rPr>
              <a:t> </a:t>
            </a:r>
            <a:r>
              <a:rPr lang="en-AU" sz="2000" b="1" dirty="0" err="1">
                <a:latin typeface="Garamond" charset="0"/>
                <a:ea typeface="Garamond" charset="0"/>
                <a:cs typeface="Garamond" charset="0"/>
              </a:rPr>
              <a:t>dan</a:t>
            </a:r>
            <a:r>
              <a:rPr lang="en-AU" sz="2000" b="1" dirty="0">
                <a:latin typeface="Garamond" charset="0"/>
                <a:ea typeface="Garamond" charset="0"/>
                <a:cs typeface="Garamond" charset="0"/>
              </a:rPr>
              <a:t> </a:t>
            </a:r>
            <a:r>
              <a:rPr lang="en-AU" sz="2000" b="1" dirty="0" err="1">
                <a:latin typeface="Garamond" charset="0"/>
                <a:ea typeface="Garamond" charset="0"/>
                <a:cs typeface="Garamond" charset="0"/>
              </a:rPr>
              <a:t>taat</a:t>
            </a:r>
            <a:r>
              <a:rPr lang="en-AU" sz="2000" b="1" dirty="0">
                <a:latin typeface="Garamond" charset="0"/>
                <a:ea typeface="Garamond" charset="0"/>
                <a:cs typeface="Garamond" charset="0"/>
              </a:rPr>
              <a:t> </a:t>
            </a:r>
            <a:r>
              <a:rPr lang="en-AU" sz="2000" b="1" dirty="0" err="1">
                <a:latin typeface="Garamond" charset="0"/>
                <a:ea typeface="Garamond" charset="0"/>
                <a:cs typeface="Garamond" charset="0"/>
              </a:rPr>
              <a:t>dalam</a:t>
            </a:r>
            <a:r>
              <a:rPr lang="en-AU" sz="2000" b="1" dirty="0">
                <a:latin typeface="Garamond" charset="0"/>
                <a:ea typeface="Garamond" charset="0"/>
                <a:cs typeface="Garamond" charset="0"/>
              </a:rPr>
              <a:t> </a:t>
            </a:r>
            <a:r>
              <a:rPr lang="en-AU" sz="2000" b="1" dirty="0" err="1">
                <a:latin typeface="Garamond" charset="0"/>
                <a:ea typeface="Garamond" charset="0"/>
                <a:cs typeface="Garamond" charset="0"/>
              </a:rPr>
              <a:t>perdagangan</a:t>
            </a:r>
            <a:r>
              <a:rPr lang="en-AU" sz="2000" b="1" dirty="0">
                <a:latin typeface="Garamond" charset="0"/>
                <a:ea typeface="Garamond" charset="0"/>
                <a:cs typeface="Garamond" charset="0"/>
              </a:rPr>
              <a:t> </a:t>
            </a:r>
            <a:r>
              <a:rPr lang="en-AU" sz="2000" b="1" dirty="0" err="1">
                <a:latin typeface="Garamond" charset="0"/>
                <a:ea typeface="Garamond" charset="0"/>
                <a:cs typeface="Garamond" charset="0"/>
              </a:rPr>
              <a:t>internasional</a:t>
            </a:r>
            <a:endParaRPr lang="en-AU" sz="2000" b="1" i="1" dirty="0">
              <a:latin typeface="Garamond" charset="0"/>
              <a:ea typeface="Garamond" charset="0"/>
              <a:cs typeface="Garamond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8301" y="4345226"/>
            <a:ext cx="838200" cy="60589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6447" y="1151038"/>
            <a:ext cx="818322" cy="909041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666" y="1280786"/>
            <a:ext cx="2505075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621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311416" y="231670"/>
            <a:ext cx="6748963" cy="45230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AU" sz="2339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</a:rPr>
              <a:t>AEO BENEFITS UNTUK PENGGUNA JASA</a:t>
            </a:r>
            <a:endParaRPr lang="id-ID" sz="2339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9975" y="57736"/>
            <a:ext cx="977234" cy="800169"/>
          </a:xfrm>
          <a:prstGeom prst="rect">
            <a:avLst/>
          </a:prstGeom>
          <a:effectLst>
            <a:softEdge rad="12700"/>
          </a:effec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97910" y="5028125"/>
            <a:ext cx="8085192" cy="79025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676" b="1" dirty="0">
                <a:latin typeface="Garamond" charset="0"/>
                <a:ea typeface="Garamond" charset="0"/>
                <a:cs typeface="Garamond" charset="0"/>
              </a:rPr>
              <a:t/>
            </a:r>
            <a:br>
              <a:rPr lang="en-US" sz="3676" b="1" dirty="0">
                <a:latin typeface="Garamond" charset="0"/>
                <a:ea typeface="Garamond" charset="0"/>
                <a:cs typeface="Garamond" charset="0"/>
              </a:rPr>
            </a:br>
            <a:r>
              <a:rPr lang="en-US" sz="3600" b="1" dirty="0" smtClean="0">
                <a:latin typeface="Garamond" charset="0"/>
                <a:ea typeface="Garamond" charset="0"/>
                <a:cs typeface="Garamond" charset="0"/>
              </a:rPr>
              <a:t>INTERNAL CONTROL BENEFITS</a:t>
            </a:r>
            <a:endParaRPr lang="en-US" sz="3600" b="1" dirty="0">
              <a:latin typeface="Garamond" charset="0"/>
              <a:ea typeface="Garamond" charset="0"/>
              <a:cs typeface="Garamond" charset="0"/>
            </a:endParaRPr>
          </a:p>
        </p:txBody>
      </p:sp>
      <p:graphicFrame>
        <p:nvGraphicFramePr>
          <p:cNvPr id="7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78992796"/>
              </p:ext>
            </p:extLst>
          </p:nvPr>
        </p:nvGraphicFramePr>
        <p:xfrm>
          <a:off x="457200" y="1268413"/>
          <a:ext cx="8229600" cy="45259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124701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</a:rPr>
              <a:t>AEO BENEFITS UNTUK PENGGUNA JASA</a:t>
            </a:r>
            <a:endParaRPr lang="id-ID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53417221"/>
              </p:ext>
            </p:extLst>
          </p:nvPr>
        </p:nvGraphicFramePr>
        <p:xfrm>
          <a:off x="233048" y="857905"/>
          <a:ext cx="8686800" cy="50523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9975" y="57736"/>
            <a:ext cx="977234" cy="800169"/>
          </a:xfrm>
          <a:prstGeom prst="rect">
            <a:avLst/>
          </a:prstGeom>
          <a:effectLst>
            <a:softEdge rad="12700"/>
          </a:effectLst>
        </p:spPr>
      </p:pic>
      <p:sp>
        <p:nvSpPr>
          <p:cNvPr id="6" name="Title 1"/>
          <p:cNvSpPr txBox="1">
            <a:spLocks/>
          </p:cNvSpPr>
          <p:nvPr/>
        </p:nvSpPr>
        <p:spPr bwMode="auto">
          <a:xfrm>
            <a:off x="533400" y="5432684"/>
            <a:ext cx="8085192" cy="955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7500"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US" b="1" dirty="0" smtClean="0">
                <a:latin typeface="Garamond" charset="0"/>
                <a:ea typeface="Garamond" charset="0"/>
                <a:cs typeface="Garamond" charset="0"/>
              </a:rPr>
              <a:t>CUSTOMS PROCEDURE BENEFITS</a:t>
            </a:r>
            <a:endParaRPr lang="en-US" b="1" dirty="0">
              <a:latin typeface="Garamond" charset="0"/>
              <a:ea typeface="Garamond" charset="0"/>
              <a:cs typeface="Garamon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1603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75152" y="377445"/>
            <a:ext cx="8872022" cy="6223009"/>
            <a:chOff x="-3175" y="115888"/>
            <a:chExt cx="9150350" cy="6756400"/>
          </a:xfrm>
        </p:grpSpPr>
        <p:pic>
          <p:nvPicPr>
            <p:cNvPr id="9" name="Picture 6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-3175" y="6376988"/>
              <a:ext cx="9144000" cy="495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Slide Number Placeholder 5"/>
            <p:cNvSpPr txBox="1">
              <a:spLocks/>
            </p:cNvSpPr>
            <p:nvPr/>
          </p:nvSpPr>
          <p:spPr>
            <a:xfrm>
              <a:off x="214313" y="6381750"/>
              <a:ext cx="2133600" cy="365125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EB3DBFA5-2FB4-48DD-BE63-D917D46CC28C}" type="slidenum">
                <a:rPr lang="en-US" sz="1002"/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15</a:t>
              </a:fld>
              <a:endParaRPr lang="en-US" sz="1002" dirty="0"/>
            </a:p>
          </p:txBody>
        </p:sp>
        <p:pic>
          <p:nvPicPr>
            <p:cNvPr id="14" name="Picture 11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175" y="6300788"/>
              <a:ext cx="9144000" cy="76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19063" y="115888"/>
              <a:ext cx="871537" cy="798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12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223963" y="838200"/>
              <a:ext cx="7920037" cy="36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8" name="Straight Connector 17"/>
            <p:cNvCxnSpPr/>
            <p:nvPr/>
          </p:nvCxnSpPr>
          <p:spPr>
            <a:xfrm rot="5400000">
              <a:off x="709612" y="509588"/>
              <a:ext cx="714375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itle 1"/>
          <p:cNvSpPr txBox="1">
            <a:spLocks/>
          </p:cNvSpPr>
          <p:nvPr/>
        </p:nvSpPr>
        <p:spPr>
          <a:xfrm>
            <a:off x="1476625" y="461792"/>
            <a:ext cx="6365656" cy="517209"/>
          </a:xfrm>
          <a:prstGeom prst="rect">
            <a:avLst/>
          </a:prstGeom>
        </p:spPr>
        <p:txBody>
          <a:bodyPr vert="horz" lIns="76388" tIns="38194" rIns="76388" bIns="38194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d-ID" sz="267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+mn-ea"/>
                <a:cs typeface="+mn-cs"/>
              </a:rPr>
              <a:t>AEO </a:t>
            </a:r>
            <a:r>
              <a:rPr lang="en-AU" sz="267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+mn-ea"/>
                <a:cs typeface="+mn-cs"/>
              </a:rPr>
              <a:t>CERTIFICATION</a:t>
            </a:r>
            <a:r>
              <a:rPr lang="id-ID" sz="267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+mn-ea"/>
                <a:cs typeface="+mn-cs"/>
              </a:rPr>
              <a:t> PROCESS</a:t>
            </a:r>
          </a:p>
        </p:txBody>
      </p:sp>
      <p:sp>
        <p:nvSpPr>
          <p:cNvPr id="245" name="Title 7"/>
          <p:cNvSpPr txBox="1">
            <a:spLocks/>
          </p:cNvSpPr>
          <p:nvPr/>
        </p:nvSpPr>
        <p:spPr>
          <a:xfrm>
            <a:off x="481486" y="915268"/>
            <a:ext cx="4901555" cy="34348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600" kern="1200" spc="-100">
                <a:solidFill>
                  <a:schemeClr val="tx2"/>
                </a:solidFill>
                <a:latin typeface="+mj-lt"/>
                <a:ea typeface="MS PGothic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Century Gothic" charset="0"/>
                <a:ea typeface="MS PGothic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Century Gothic" charset="0"/>
                <a:ea typeface="MS PGothic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Century Gothic" charset="0"/>
                <a:ea typeface="MS PGothic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Century Gothic" charset="0"/>
                <a:ea typeface="MS PGothic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Century Gothic" charset="0"/>
                <a:ea typeface="ＭＳ Ｐゴシック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Century Gothic" charset="0"/>
                <a:ea typeface="ＭＳ Ｐゴシック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Century Gothic" charset="0"/>
                <a:ea typeface="ＭＳ Ｐゴシック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Century Gothic" charset="0"/>
                <a:ea typeface="ＭＳ Ｐゴシック" charset="-128"/>
              </a:defRPr>
            </a:lvl9pPr>
          </a:lstStyle>
          <a:p>
            <a:pPr eaLnBrk="1" hangingPunct="1">
              <a:defRPr/>
            </a:pPr>
            <a:endParaRPr lang="en-US" sz="2339" dirty="0">
              <a:latin typeface="+mn-lt"/>
              <a:ea typeface="ＭＳ Ｐゴシック" charset="-128"/>
            </a:endParaRPr>
          </a:p>
        </p:txBody>
      </p:sp>
      <p:graphicFrame>
        <p:nvGraphicFramePr>
          <p:cNvPr id="246" name="Diagram 245"/>
          <p:cNvGraphicFramePr/>
          <p:nvPr>
            <p:extLst>
              <p:ext uri="{D42A27DB-BD31-4B8C-83A1-F6EECF244321}">
                <p14:modId xmlns:p14="http://schemas.microsoft.com/office/powerpoint/2010/main" val="238770104"/>
              </p:ext>
            </p:extLst>
          </p:nvPr>
        </p:nvGraphicFramePr>
        <p:xfrm>
          <a:off x="822960" y="1463040"/>
          <a:ext cx="8146416" cy="43906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1508" y="220645"/>
            <a:ext cx="1097868" cy="818730"/>
          </a:xfrm>
          <a:prstGeom prst="rect">
            <a:avLst/>
          </a:prstGeom>
          <a:effectLst>
            <a:softEdge rad="12700"/>
          </a:effectLst>
        </p:spPr>
      </p:pic>
    </p:spTree>
    <p:extLst>
      <p:ext uri="{BB962C8B-B14F-4D97-AF65-F5344CB8AC3E}">
        <p14:creationId xmlns:p14="http://schemas.microsoft.com/office/powerpoint/2010/main" val="116586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75152" y="363183"/>
            <a:ext cx="8872022" cy="6223009"/>
            <a:chOff x="-3175" y="115888"/>
            <a:chExt cx="9150350" cy="6756400"/>
          </a:xfrm>
        </p:grpSpPr>
        <p:pic>
          <p:nvPicPr>
            <p:cNvPr id="9" name="Picture 6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-3175" y="6376988"/>
              <a:ext cx="9144000" cy="495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Slide Number Placeholder 5"/>
            <p:cNvSpPr txBox="1">
              <a:spLocks/>
            </p:cNvSpPr>
            <p:nvPr/>
          </p:nvSpPr>
          <p:spPr>
            <a:xfrm>
              <a:off x="214313" y="6381750"/>
              <a:ext cx="2133600" cy="365125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EB3DBFA5-2FB4-48DD-BE63-D917D46CC28C}" type="slidenum">
                <a:rPr lang="en-US" sz="1002"/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16</a:t>
              </a:fld>
              <a:endParaRPr lang="en-US" sz="1002" dirty="0"/>
            </a:p>
          </p:txBody>
        </p:sp>
        <p:pic>
          <p:nvPicPr>
            <p:cNvPr id="14" name="Picture 11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175" y="6300788"/>
              <a:ext cx="9144000" cy="76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19063" y="115888"/>
              <a:ext cx="871537" cy="798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12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223963" y="838200"/>
              <a:ext cx="7920037" cy="36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8" name="Straight Connector 17"/>
            <p:cNvCxnSpPr/>
            <p:nvPr/>
          </p:nvCxnSpPr>
          <p:spPr>
            <a:xfrm rot="5400000">
              <a:off x="709612" y="509588"/>
              <a:ext cx="714375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55"/>
          <p:cNvSpPr txBox="1">
            <a:spLocks/>
          </p:cNvSpPr>
          <p:nvPr/>
        </p:nvSpPr>
        <p:spPr>
          <a:xfrm>
            <a:off x="938558" y="396014"/>
            <a:ext cx="6991080" cy="572909"/>
          </a:xfrm>
          <a:prstGeom prst="rect">
            <a:avLst/>
          </a:prstGeom>
        </p:spPr>
        <p:txBody>
          <a:bodyPr vert="horz" lIns="76388" tIns="38194" rIns="76388" bIns="38194" rtlCol="0" anchor="ctr">
            <a:norm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d-ID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+mn-ea"/>
                <a:cs typeface="+mn-cs"/>
              </a:rPr>
              <a:t>ALUR PERMOHONAN SEBAGAI AEO</a:t>
            </a:r>
            <a:endParaRPr 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38" name="Rounded Rectangle 4"/>
          <p:cNvSpPr/>
          <p:nvPr/>
        </p:nvSpPr>
        <p:spPr>
          <a:xfrm>
            <a:off x="1041931" y="1150129"/>
            <a:ext cx="1628088" cy="755650"/>
          </a:xfrm>
          <a:prstGeom prst="rect">
            <a:avLst/>
          </a:prstGeom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0022" tIns="70022" rIns="70022" bIns="70022" numCol="1" spcCol="1270" anchor="ctr" anchorCtr="0">
            <a:noAutofit/>
          </a:bodyPr>
          <a:lstStyle/>
          <a:p>
            <a:pPr algn="ctr" defTabSz="816938">
              <a:lnSpc>
                <a:spcPct val="90000"/>
              </a:lnSpc>
              <a:spcAft>
                <a:spcPct val="35000"/>
              </a:spcAft>
            </a:pPr>
            <a:endParaRPr lang="en-US" sz="1838"/>
          </a:p>
        </p:txBody>
      </p:sp>
      <p:sp>
        <p:nvSpPr>
          <p:cNvPr id="39" name="Title 55"/>
          <p:cNvSpPr txBox="1">
            <a:spLocks/>
          </p:cNvSpPr>
          <p:nvPr/>
        </p:nvSpPr>
        <p:spPr>
          <a:xfrm>
            <a:off x="1180385" y="1022815"/>
            <a:ext cx="6991080" cy="572909"/>
          </a:xfrm>
          <a:prstGeom prst="rect">
            <a:avLst/>
          </a:prstGeom>
        </p:spPr>
        <p:txBody>
          <a:bodyPr vert="horz" lIns="76388" tIns="38194" rIns="76388" bIns="38194" rtlCol="0" anchor="ctr">
            <a:norm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673" b="1" dirty="0">
              <a:latin typeface="Candara" panose="020E0502030303020204" pitchFamily="34" charset="0"/>
              <a:ea typeface="+mn-ea"/>
              <a:cs typeface="+mn-cs"/>
            </a:endParaRPr>
          </a:p>
        </p:txBody>
      </p:sp>
      <p:pic>
        <p:nvPicPr>
          <p:cNvPr id="40" name="Picture 24" descr="AIRPL099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 flipH="1">
            <a:off x="1022089" y="1744230"/>
            <a:ext cx="762497" cy="1012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" name="TextBox 40"/>
          <p:cNvSpPr txBox="1"/>
          <p:nvPr/>
        </p:nvSpPr>
        <p:spPr>
          <a:xfrm>
            <a:off x="1704699" y="1855477"/>
            <a:ext cx="1195983" cy="738664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id-ID" sz="1400" dirty="0">
                <a:ln>
                  <a:solidFill>
                    <a:schemeClr val="tx1"/>
                  </a:solidFill>
                </a:ln>
                <a:latin typeface="Calibri" pitchFamily="34" charset="0"/>
                <a:cs typeface="Calibri" pitchFamily="34" charset="0"/>
              </a:rPr>
              <a:t>Permohonan </a:t>
            </a:r>
          </a:p>
          <a:p>
            <a:pPr algn="ctr"/>
            <a:r>
              <a:rPr lang="id-ID" sz="1400" dirty="0">
                <a:ln>
                  <a:solidFill>
                    <a:schemeClr val="tx1"/>
                  </a:solidFill>
                </a:ln>
                <a:latin typeface="Calibri" pitchFamily="34" charset="0"/>
                <a:cs typeface="Calibri" pitchFamily="34" charset="0"/>
              </a:rPr>
              <a:t>Operator </a:t>
            </a:r>
          </a:p>
          <a:p>
            <a:pPr algn="ctr"/>
            <a:r>
              <a:rPr lang="id-ID" sz="1400" dirty="0">
                <a:ln>
                  <a:solidFill>
                    <a:schemeClr val="tx1"/>
                  </a:solidFill>
                </a:ln>
                <a:latin typeface="Calibri" pitchFamily="34" charset="0"/>
                <a:cs typeface="Calibri" pitchFamily="34" charset="0"/>
              </a:rPr>
              <a:t>Ekonomi</a:t>
            </a:r>
            <a:endParaRPr lang="en-US" sz="1400" dirty="0">
              <a:ln>
                <a:solidFill>
                  <a:schemeClr val="tx1"/>
                </a:solidFill>
              </a:ln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516395" y="6012868"/>
            <a:ext cx="1782384" cy="305021"/>
          </a:xfrm>
        </p:spPr>
        <p:txBody>
          <a:bodyPr/>
          <a:lstStyle/>
          <a:p>
            <a:fld id="{DC9932CF-FE3B-4897-83AE-4B31A2CF5DE3}" type="slidenum">
              <a:rPr lang="en-US" smtClean="0"/>
              <a:pPr/>
              <a:t>16</a:t>
            </a:fld>
            <a:endParaRPr lang="en-US"/>
          </a:p>
        </p:txBody>
      </p:sp>
      <p:grpSp>
        <p:nvGrpSpPr>
          <p:cNvPr id="43" name="Group 42"/>
          <p:cNvGrpSpPr/>
          <p:nvPr/>
        </p:nvGrpSpPr>
        <p:grpSpPr>
          <a:xfrm>
            <a:off x="1022089" y="2772793"/>
            <a:ext cx="1820447" cy="1023985"/>
            <a:chOff x="166886" y="2965241"/>
            <a:chExt cx="2179164" cy="1225760"/>
          </a:xfrm>
        </p:grpSpPr>
        <p:sp>
          <p:nvSpPr>
            <p:cNvPr id="44" name="Flowchart: Multidocument 43"/>
            <p:cNvSpPr/>
            <p:nvPr/>
          </p:nvSpPr>
          <p:spPr>
            <a:xfrm>
              <a:off x="166886" y="2965241"/>
              <a:ext cx="2179164" cy="1225760"/>
            </a:xfrm>
            <a:prstGeom prst="flowChartMultidocument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286459" indent="-286459">
                <a:buAutoNum type="arabicPeriod"/>
              </a:pPr>
              <a:endParaRPr lang="en-US" sz="1337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168549" y="3209326"/>
              <a:ext cx="2117451" cy="84944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6459" indent="-286459">
                <a:buAutoNum type="arabicPeriod"/>
              </a:pPr>
              <a:r>
                <a:rPr lang="en-US" sz="1337" dirty="0">
                  <a:cs typeface="Calibri" pitchFamily="34" charset="0"/>
                </a:rPr>
                <a:t>Self Assessment</a:t>
              </a:r>
            </a:p>
            <a:p>
              <a:pPr marL="286459" indent="-286459">
                <a:buAutoNum type="arabicPeriod"/>
              </a:pPr>
              <a:r>
                <a:rPr lang="id-ID" sz="1337" dirty="0">
                  <a:cs typeface="Calibri" pitchFamily="34" charset="0"/>
                </a:rPr>
                <a:t>Maturity Model</a:t>
              </a:r>
            </a:p>
            <a:p>
              <a:pPr marL="286459" indent="-286459">
                <a:buAutoNum type="arabicPeriod"/>
              </a:pPr>
              <a:r>
                <a:rPr lang="id-ID" sz="1337" dirty="0">
                  <a:cs typeface="Calibri" pitchFamily="34" charset="0"/>
                </a:rPr>
                <a:t>Lampiran lainnya</a:t>
              </a:r>
              <a:endParaRPr lang="en-US" sz="1337" dirty="0">
                <a:cs typeface="Calibri" pitchFamily="34" charset="0"/>
              </a:endParaRPr>
            </a:p>
          </p:txBody>
        </p:sp>
      </p:grpSp>
      <p:sp>
        <p:nvSpPr>
          <p:cNvPr id="46" name="Rounded Rectangle 45"/>
          <p:cNvSpPr/>
          <p:nvPr/>
        </p:nvSpPr>
        <p:spPr>
          <a:xfrm>
            <a:off x="7152896" y="1603240"/>
            <a:ext cx="1172668" cy="621569"/>
          </a:xfrm>
          <a:prstGeom prst="roundRect">
            <a:avLst>
              <a:gd name="adj" fmla="val 11983"/>
            </a:avLst>
          </a:prstGeom>
          <a:gradFill flip="none" rotWithShape="1">
            <a:gsLst>
              <a:gs pos="0">
                <a:schemeClr val="accent3">
                  <a:tint val="10000"/>
                  <a:alpha val="94000"/>
                  <a:satMod val="120000"/>
                  <a:lumMod val="110000"/>
                </a:schemeClr>
              </a:gs>
              <a:gs pos="100000">
                <a:schemeClr val="accent3">
                  <a:tint val="80000"/>
                  <a:shade val="100000"/>
                  <a:satMod val="140000"/>
                  <a:lumMod val="120000"/>
                </a:schemeClr>
              </a:gs>
            </a:gsLst>
            <a:lin ang="8100000" scaled="1"/>
            <a:tileRect/>
          </a:gradFill>
          <a:ln>
            <a:solidFill>
              <a:srgbClr val="FFC000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id-ID" sz="14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Kesimpulan</a:t>
            </a:r>
            <a:endParaRPr lang="en-US" sz="14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7" name="Rounded Rectangle 46"/>
          <p:cNvSpPr/>
          <p:nvPr/>
        </p:nvSpPr>
        <p:spPr>
          <a:xfrm>
            <a:off x="5519909" y="1892818"/>
            <a:ext cx="1103959" cy="621569"/>
          </a:xfrm>
          <a:prstGeom prst="roundRect">
            <a:avLst>
              <a:gd name="adj" fmla="val 11983"/>
            </a:avLst>
          </a:prstGeom>
          <a:gradFill flip="none" rotWithShape="1">
            <a:gsLst>
              <a:gs pos="0">
                <a:schemeClr val="accent3">
                  <a:tint val="10000"/>
                  <a:alpha val="94000"/>
                  <a:satMod val="120000"/>
                  <a:lumMod val="110000"/>
                </a:schemeClr>
              </a:gs>
              <a:gs pos="100000">
                <a:schemeClr val="accent3">
                  <a:tint val="80000"/>
                  <a:shade val="100000"/>
                  <a:satMod val="140000"/>
                  <a:lumMod val="120000"/>
                </a:schemeClr>
              </a:gs>
            </a:gsLst>
            <a:lin ang="8100000" scaled="1"/>
            <a:tileRect/>
          </a:gradFill>
          <a:ln>
            <a:solidFill>
              <a:srgbClr val="FFC000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 anchorCtr="0"/>
          <a:lstStyle/>
          <a:p>
            <a:pPr algn="ctr"/>
            <a:r>
              <a:rPr lang="id-ID" sz="14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Peninjauan Lapangan</a:t>
            </a:r>
            <a:endParaRPr lang="en-US" sz="14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8" name="Rounded Rectangle 47"/>
          <p:cNvSpPr/>
          <p:nvPr/>
        </p:nvSpPr>
        <p:spPr>
          <a:xfrm>
            <a:off x="3397223" y="1883977"/>
            <a:ext cx="1223897" cy="621569"/>
          </a:xfrm>
          <a:prstGeom prst="roundRect">
            <a:avLst>
              <a:gd name="adj" fmla="val 11983"/>
            </a:avLst>
          </a:prstGeom>
          <a:gradFill flip="none" rotWithShape="1">
            <a:gsLst>
              <a:gs pos="0">
                <a:schemeClr val="accent3">
                  <a:tint val="10000"/>
                  <a:alpha val="94000"/>
                  <a:satMod val="120000"/>
                  <a:lumMod val="110000"/>
                </a:schemeClr>
              </a:gs>
              <a:gs pos="100000">
                <a:schemeClr val="accent3">
                  <a:tint val="80000"/>
                  <a:shade val="100000"/>
                  <a:satMod val="140000"/>
                  <a:lumMod val="120000"/>
                </a:schemeClr>
              </a:gs>
            </a:gsLst>
            <a:lin ang="8100000" scaled="1"/>
            <a:tileRect/>
          </a:gradFill>
          <a:ln>
            <a:solidFill>
              <a:srgbClr val="FFC000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 anchorCtr="1"/>
          <a:lstStyle/>
          <a:p>
            <a:pPr algn="ctr"/>
            <a:r>
              <a:rPr lang="id-ID" sz="14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Penelitian Administrasi</a:t>
            </a:r>
            <a:endParaRPr lang="en-US" sz="14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9" name="Right Arrow 48"/>
          <p:cNvSpPr/>
          <p:nvPr/>
        </p:nvSpPr>
        <p:spPr>
          <a:xfrm>
            <a:off x="2887971" y="2038246"/>
            <a:ext cx="445596" cy="330716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0" name="Right Arrow 49"/>
          <p:cNvSpPr/>
          <p:nvPr/>
        </p:nvSpPr>
        <p:spPr>
          <a:xfrm>
            <a:off x="4670355" y="2038246"/>
            <a:ext cx="776454" cy="330716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4674490" y="1850351"/>
            <a:ext cx="572909" cy="246542"/>
          </a:xfrm>
          <a:prstGeom prst="rect">
            <a:avLst/>
          </a:prstGeom>
          <a:solidFill>
            <a:srgbClr val="92D050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id-ID" sz="1002" dirty="0">
                <a:solidFill>
                  <a:sysClr val="windowText" lastClr="000000"/>
                </a:solidFill>
                <a:latin typeface="Candara" pitchFamily="34" charset="0"/>
              </a:rPr>
              <a:t>LAYAK</a:t>
            </a:r>
            <a:endParaRPr lang="en-US" sz="1002" dirty="0">
              <a:solidFill>
                <a:sysClr val="windowText" lastClr="000000"/>
              </a:solidFill>
              <a:latin typeface="Candara" pitchFamily="34" charset="0"/>
            </a:endParaRPr>
          </a:p>
        </p:txBody>
      </p:sp>
      <p:sp>
        <p:nvSpPr>
          <p:cNvPr id="52" name="Right Arrow 51"/>
          <p:cNvSpPr/>
          <p:nvPr/>
        </p:nvSpPr>
        <p:spPr>
          <a:xfrm rot="5400000">
            <a:off x="7548861" y="2349814"/>
            <a:ext cx="405302" cy="330716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3397223" y="2717821"/>
            <a:ext cx="360928" cy="246221"/>
          </a:xfrm>
          <a:prstGeom prst="rect">
            <a:avLst/>
          </a:prstGeom>
          <a:solidFill>
            <a:srgbClr val="FF0000"/>
          </a:solidFill>
          <a:ln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Candara" pitchFamily="34" charset="0"/>
              </a:rPr>
              <a:t>NO</a:t>
            </a:r>
          </a:p>
        </p:txBody>
      </p:sp>
      <p:sp>
        <p:nvSpPr>
          <p:cNvPr id="54" name="Right Arrow 53"/>
          <p:cNvSpPr/>
          <p:nvPr/>
        </p:nvSpPr>
        <p:spPr>
          <a:xfrm rot="5400000">
            <a:off x="5895651" y="3961895"/>
            <a:ext cx="352470" cy="330716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5" name="Rounded Rectangle 54"/>
          <p:cNvSpPr/>
          <p:nvPr/>
        </p:nvSpPr>
        <p:spPr>
          <a:xfrm>
            <a:off x="5519909" y="3265792"/>
            <a:ext cx="1103959" cy="621569"/>
          </a:xfrm>
          <a:prstGeom prst="roundRect">
            <a:avLst/>
          </a:prstGeom>
          <a:gradFill flip="none" rotWithShape="1">
            <a:gsLst>
              <a:gs pos="0">
                <a:schemeClr val="accent3">
                  <a:tint val="10000"/>
                  <a:alpha val="94000"/>
                  <a:satMod val="120000"/>
                  <a:lumMod val="110000"/>
                </a:schemeClr>
              </a:gs>
              <a:gs pos="100000">
                <a:schemeClr val="accent3">
                  <a:tint val="80000"/>
                  <a:shade val="100000"/>
                  <a:satMod val="140000"/>
                  <a:lumMod val="120000"/>
                </a:schemeClr>
              </a:gs>
            </a:gsLst>
            <a:lin ang="8100000" scaled="1"/>
            <a:tileRect/>
          </a:gradFill>
          <a:ln>
            <a:solidFill>
              <a:srgbClr val="FFC000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d-ID" sz="14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Saran Perbaikan</a:t>
            </a:r>
            <a:endParaRPr lang="en-US" sz="14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6" name="Right Arrow 55"/>
          <p:cNvSpPr/>
          <p:nvPr/>
        </p:nvSpPr>
        <p:spPr>
          <a:xfrm flipH="1">
            <a:off x="5199135" y="4517758"/>
            <a:ext cx="247673" cy="330716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7" name="Bent-Up Arrow 56"/>
          <p:cNvSpPr/>
          <p:nvPr/>
        </p:nvSpPr>
        <p:spPr>
          <a:xfrm rot="5400000" flipV="1">
            <a:off x="3160205" y="2399418"/>
            <a:ext cx="723448" cy="1151033"/>
          </a:xfrm>
          <a:prstGeom prst="bentUpArrow">
            <a:avLst>
              <a:gd name="adj1" fmla="val 18624"/>
              <a:gd name="adj2" fmla="val 20229"/>
              <a:gd name="adj3" fmla="val 30664"/>
            </a:avLst>
          </a:prstGeom>
          <a:gradFill flip="none" rotWithShape="1">
            <a:gsLst>
              <a:gs pos="0">
                <a:schemeClr val="accent2">
                  <a:tint val="10000"/>
                  <a:alpha val="94000"/>
                  <a:satMod val="120000"/>
                  <a:lumMod val="110000"/>
                </a:schemeClr>
              </a:gs>
              <a:gs pos="100000">
                <a:schemeClr val="accent2">
                  <a:tint val="80000"/>
                  <a:shade val="100000"/>
                  <a:satMod val="140000"/>
                  <a:lumMod val="12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d-ID">
              <a:solidFill>
                <a:schemeClr val="dk1"/>
              </a:solidFill>
              <a:latin typeface="Calibri" pitchFamily="34" charset="0"/>
            </a:endParaRPr>
          </a:p>
        </p:txBody>
      </p:sp>
      <p:sp>
        <p:nvSpPr>
          <p:cNvPr id="58" name="Right Arrow 57"/>
          <p:cNvSpPr/>
          <p:nvPr/>
        </p:nvSpPr>
        <p:spPr>
          <a:xfrm rot="19588852">
            <a:off x="6677604" y="1955399"/>
            <a:ext cx="445596" cy="330716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9" name="Right Arrow 58"/>
          <p:cNvSpPr/>
          <p:nvPr/>
        </p:nvSpPr>
        <p:spPr>
          <a:xfrm rot="5400000">
            <a:off x="5789549" y="2730191"/>
            <a:ext cx="564675" cy="330716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0" name="Flowchart: Delay 59"/>
          <p:cNvSpPr/>
          <p:nvPr/>
        </p:nvSpPr>
        <p:spPr>
          <a:xfrm>
            <a:off x="5519908" y="4396613"/>
            <a:ext cx="1103959" cy="573007"/>
          </a:xfrm>
          <a:prstGeom prst="flowChartDelay">
            <a:avLst/>
          </a:prstGeom>
          <a:gradFill flip="none" rotWithShape="1">
            <a:gsLst>
              <a:gs pos="0">
                <a:schemeClr val="accent3">
                  <a:tint val="10000"/>
                  <a:alpha val="94000"/>
                  <a:satMod val="120000"/>
                  <a:lumMod val="110000"/>
                </a:schemeClr>
              </a:gs>
              <a:gs pos="100000">
                <a:schemeClr val="accent3">
                  <a:tint val="80000"/>
                  <a:shade val="100000"/>
                  <a:satMod val="140000"/>
                  <a:lumMod val="120000"/>
                </a:schemeClr>
              </a:gs>
            </a:gsLst>
            <a:lin ang="8100000" scaled="1"/>
            <a:tileRect/>
          </a:gradFill>
          <a:ln>
            <a:solidFill>
              <a:srgbClr val="FFC000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Feedback</a:t>
            </a:r>
            <a:endParaRPr lang="id-ID" sz="14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" name="Rounded Rectangle 60"/>
          <p:cNvSpPr/>
          <p:nvPr/>
        </p:nvSpPr>
        <p:spPr>
          <a:xfrm>
            <a:off x="7165179" y="2779118"/>
            <a:ext cx="1172667" cy="621569"/>
          </a:xfrm>
          <a:prstGeom prst="roundRect">
            <a:avLst/>
          </a:prstGeom>
          <a:gradFill flip="none" rotWithShape="1">
            <a:gsLst>
              <a:gs pos="0">
                <a:schemeClr val="accent3">
                  <a:tint val="10000"/>
                  <a:alpha val="94000"/>
                  <a:satMod val="120000"/>
                  <a:lumMod val="110000"/>
                </a:schemeClr>
              </a:gs>
              <a:gs pos="100000">
                <a:schemeClr val="accent3">
                  <a:tint val="80000"/>
                  <a:shade val="100000"/>
                  <a:satMod val="140000"/>
                  <a:lumMod val="120000"/>
                </a:schemeClr>
              </a:gs>
            </a:gsLst>
            <a:lin ang="8100000" scaled="1"/>
            <a:tileRect/>
          </a:gradFill>
          <a:ln>
            <a:solidFill>
              <a:srgbClr val="FFC000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d-ID" sz="16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Sidang Panel</a:t>
            </a:r>
            <a:endParaRPr lang="en-US" sz="16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3953997" y="4277749"/>
            <a:ext cx="1223897" cy="810734"/>
          </a:xfrm>
          <a:prstGeom prst="roundRect">
            <a:avLst/>
          </a:prstGeom>
          <a:gradFill flip="none" rotWithShape="1">
            <a:gsLst>
              <a:gs pos="0">
                <a:schemeClr val="accent3">
                  <a:tint val="10000"/>
                  <a:alpha val="94000"/>
                  <a:satMod val="120000"/>
                  <a:lumMod val="110000"/>
                </a:schemeClr>
              </a:gs>
              <a:gs pos="100000">
                <a:schemeClr val="accent3">
                  <a:tint val="80000"/>
                  <a:shade val="100000"/>
                  <a:satMod val="140000"/>
                  <a:lumMod val="120000"/>
                </a:schemeClr>
              </a:gs>
            </a:gsLst>
            <a:lin ang="8100000" scaled="1"/>
            <a:tileRect/>
          </a:gradFill>
          <a:ln>
            <a:solidFill>
              <a:srgbClr val="FFC000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1400" b="0" dirty="0" err="1"/>
              <a:t>Perbaikan</a:t>
            </a:r>
            <a:r>
              <a:rPr lang="en-US" sz="1400" b="0" dirty="0"/>
              <a:t> </a:t>
            </a:r>
            <a:endParaRPr lang="id-ID" sz="1400" b="0" dirty="0"/>
          </a:p>
          <a:p>
            <a:r>
              <a:rPr lang="en-US" sz="1400" b="0" dirty="0" err="1"/>
              <a:t>dan</a:t>
            </a:r>
            <a:r>
              <a:rPr lang="en-US" sz="1400" b="0" dirty="0"/>
              <a:t>/</a:t>
            </a:r>
            <a:r>
              <a:rPr lang="en-US" sz="1400" b="0" dirty="0" err="1"/>
              <a:t>atau</a:t>
            </a:r>
            <a:r>
              <a:rPr lang="en-US" sz="1400" b="0" dirty="0"/>
              <a:t> </a:t>
            </a:r>
            <a:r>
              <a:rPr lang="en-US" sz="1400" b="0" dirty="0" err="1"/>
              <a:t>bimbingan</a:t>
            </a:r>
            <a:endParaRPr lang="en-US" sz="1400" b="0" dirty="0"/>
          </a:p>
        </p:txBody>
      </p:sp>
      <p:cxnSp>
        <p:nvCxnSpPr>
          <p:cNvPr id="63" name="Elbow Connector 62"/>
          <p:cNvCxnSpPr>
            <a:stCxn id="62" idx="0"/>
          </p:cNvCxnSpPr>
          <p:nvPr/>
        </p:nvCxnSpPr>
        <p:spPr>
          <a:xfrm rot="5400000" flipH="1" flipV="1">
            <a:off x="3819114" y="3038282"/>
            <a:ext cx="1986301" cy="492635"/>
          </a:xfrm>
          <a:prstGeom prst="bentConnector3">
            <a:avLst>
              <a:gd name="adj1" fmla="val 50000"/>
            </a:avLst>
          </a:prstGeom>
          <a:ln w="152400" cap="flat" cmpd="sng">
            <a:solidFill>
              <a:srgbClr val="92D050"/>
            </a:solidFill>
            <a:bevel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ounded Rectangle 63"/>
          <p:cNvSpPr/>
          <p:nvPr/>
        </p:nvSpPr>
        <p:spPr>
          <a:xfrm>
            <a:off x="7123200" y="5075435"/>
            <a:ext cx="1321723" cy="573007"/>
          </a:xfrm>
          <a:prstGeom prst="roundRect">
            <a:avLst/>
          </a:prstGeom>
          <a:noFill/>
          <a:ln w="28575">
            <a:solidFill>
              <a:srgbClr val="0070C0"/>
            </a:solidFill>
            <a:prstDash val="dash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d-ID" sz="16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Monitoring dan Evaluasi</a:t>
            </a:r>
            <a:endParaRPr lang="en-US" sz="1600" b="1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5" name="Right Arrow 64"/>
          <p:cNvSpPr/>
          <p:nvPr/>
        </p:nvSpPr>
        <p:spPr>
          <a:xfrm rot="5400000">
            <a:off x="7599065" y="4622575"/>
            <a:ext cx="352470" cy="330716"/>
          </a:xfrm>
          <a:prstGeom prst="rightArrow">
            <a:avLst/>
          </a:prstGeom>
          <a:noFill/>
          <a:ln w="28575">
            <a:solidFill>
              <a:srgbClr val="0070C0"/>
            </a:solidFill>
            <a:prstDash val="dash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66" name="Picture 6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6827" y="186270"/>
            <a:ext cx="1097868" cy="818730"/>
          </a:xfrm>
          <a:prstGeom prst="rect">
            <a:avLst/>
          </a:prstGeom>
          <a:effectLst>
            <a:softEdge rad="12700"/>
          </a:effectLst>
        </p:spPr>
      </p:pic>
      <p:sp>
        <p:nvSpPr>
          <p:cNvPr id="68" name="Rounded Rectangle 67"/>
          <p:cNvSpPr/>
          <p:nvPr/>
        </p:nvSpPr>
        <p:spPr>
          <a:xfrm>
            <a:off x="7188967" y="3928833"/>
            <a:ext cx="1172667" cy="621569"/>
          </a:xfrm>
          <a:prstGeom prst="roundRect">
            <a:avLst/>
          </a:prstGeom>
          <a:gradFill flip="none" rotWithShape="1">
            <a:gsLst>
              <a:gs pos="0">
                <a:schemeClr val="accent3">
                  <a:tint val="10000"/>
                  <a:alpha val="94000"/>
                  <a:satMod val="120000"/>
                  <a:lumMod val="110000"/>
                </a:schemeClr>
              </a:gs>
              <a:gs pos="100000">
                <a:schemeClr val="accent3">
                  <a:tint val="80000"/>
                  <a:shade val="100000"/>
                  <a:satMod val="140000"/>
                  <a:lumMod val="120000"/>
                </a:schemeClr>
              </a:gs>
            </a:gsLst>
            <a:lin ang="8100000" scaled="1"/>
            <a:tileRect/>
          </a:gradFill>
          <a:ln>
            <a:solidFill>
              <a:srgbClr val="FFC000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d-ID" sz="16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Sertifikasi</a:t>
            </a:r>
            <a:endParaRPr lang="en-US" sz="16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9" name="Right Arrow 68"/>
          <p:cNvSpPr/>
          <p:nvPr/>
        </p:nvSpPr>
        <p:spPr>
          <a:xfrm rot="5400000">
            <a:off x="7536577" y="3508165"/>
            <a:ext cx="405302" cy="330716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82740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3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7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1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4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250"/>
                            </p:stCondLst>
                            <p:childTnLst>
                              <p:par>
                                <p:cTn id="1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75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250"/>
                            </p:stCondLst>
                            <p:childTnLst>
                              <p:par>
                                <p:cTn id="2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750"/>
                            </p:stCondLst>
                            <p:childTnLst>
                              <p:par>
                                <p:cTn id="2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25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75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4250"/>
                            </p:stCondLst>
                            <p:childTnLst>
                              <p:par>
                                <p:cTn id="4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750"/>
                            </p:stCondLst>
                            <p:childTnLst>
                              <p:par>
                                <p:cTn id="44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250"/>
                            </p:stCondLst>
                            <p:childTnLst>
                              <p:par>
                                <p:cTn id="4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750"/>
                            </p:stCondLst>
                            <p:childTnLst>
                              <p:par>
                                <p:cTn id="5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6250"/>
                            </p:stCondLst>
                            <p:childTnLst>
                              <p:par>
                                <p:cTn id="5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6750"/>
                            </p:stCondLst>
                            <p:childTnLst>
                              <p:par>
                                <p:cTn id="60" presetID="5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2" dur="2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7000"/>
                            </p:stCondLst>
                            <p:childTnLst>
                              <p:par>
                                <p:cTn id="6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6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7500"/>
                            </p:stCondLst>
                            <p:childTnLst>
                              <p:par>
                                <p:cTn id="68" presetID="5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0" dur="25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7750"/>
                            </p:stCondLst>
                            <p:childTnLst>
                              <p:par>
                                <p:cTn id="7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4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8250"/>
                            </p:stCondLst>
                            <p:childTnLst>
                              <p:par>
                                <p:cTn id="7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8750"/>
                            </p:stCondLst>
                            <p:childTnLst>
                              <p:par>
                                <p:cTn id="8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9250"/>
                            </p:stCondLst>
                            <p:childTnLst>
                              <p:par>
                                <p:cTn id="8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9750"/>
                            </p:stCondLst>
                            <p:childTnLst>
                              <p:par>
                                <p:cTn id="8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10250"/>
                            </p:stCondLst>
                            <p:childTnLst>
                              <p:par>
                                <p:cTn id="9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4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10750"/>
                            </p:stCondLst>
                            <p:childTnLst>
                              <p:par>
                                <p:cTn id="96" presetID="5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98" dur="2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11000"/>
                            </p:stCondLst>
                            <p:childTnLst>
                              <p:par>
                                <p:cTn id="100" presetID="5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2" dur="2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11250"/>
                            </p:stCondLst>
                            <p:childTnLst>
                              <p:par>
                                <p:cTn id="10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6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  <p:bldP spid="41" grpId="0"/>
      <p:bldP spid="46" grpId="0" animBg="1"/>
      <p:bldP spid="47" grpId="0" animBg="1"/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 animBg="1"/>
      <p:bldP spid="55" grpId="0" animBg="1"/>
      <p:bldP spid="56" grpId="0" animBg="1"/>
      <p:bldP spid="57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4" grpId="0" animBg="1"/>
      <p:bldP spid="65" grpId="0" animBg="1"/>
      <p:bldP spid="68" grpId="0" animBg="1"/>
      <p:bldP spid="6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75152" y="377445"/>
            <a:ext cx="8872022" cy="6223009"/>
            <a:chOff x="-3175" y="115888"/>
            <a:chExt cx="9150350" cy="6756400"/>
          </a:xfrm>
        </p:grpSpPr>
        <p:pic>
          <p:nvPicPr>
            <p:cNvPr id="9" name="Picture 6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-3175" y="6376988"/>
              <a:ext cx="9144000" cy="495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Slide Number Placeholder 5"/>
            <p:cNvSpPr txBox="1">
              <a:spLocks/>
            </p:cNvSpPr>
            <p:nvPr/>
          </p:nvSpPr>
          <p:spPr>
            <a:xfrm>
              <a:off x="214313" y="6381750"/>
              <a:ext cx="2133600" cy="365125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EB3DBFA5-2FB4-48DD-BE63-D917D46CC28C}" type="slidenum">
                <a:rPr lang="en-US" sz="1002"/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17</a:t>
              </a:fld>
              <a:endParaRPr lang="en-US" sz="1002" dirty="0"/>
            </a:p>
          </p:txBody>
        </p:sp>
        <p:pic>
          <p:nvPicPr>
            <p:cNvPr id="14" name="Picture 11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175" y="6300788"/>
              <a:ext cx="9144000" cy="76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19063" y="115888"/>
              <a:ext cx="871537" cy="798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12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223963" y="838200"/>
              <a:ext cx="7920037" cy="36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8" name="Straight Connector 17"/>
            <p:cNvCxnSpPr/>
            <p:nvPr/>
          </p:nvCxnSpPr>
          <p:spPr>
            <a:xfrm rot="5400000">
              <a:off x="709612" y="509588"/>
              <a:ext cx="714375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Box 2"/>
          <p:cNvSpPr txBox="1"/>
          <p:nvPr/>
        </p:nvSpPr>
        <p:spPr>
          <a:xfrm>
            <a:off x="1520376" y="460825"/>
            <a:ext cx="7021829" cy="4008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200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</a:rPr>
              <a:t>DAFTAR PERUSAHAAN AEO</a:t>
            </a:r>
            <a:r>
              <a:rPr lang="en-AU" sz="200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</a:rPr>
              <a:t> SAAT INI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5935" y="322480"/>
            <a:ext cx="1097868" cy="818730"/>
          </a:xfrm>
          <a:prstGeom prst="rect">
            <a:avLst/>
          </a:prstGeom>
          <a:effectLst>
            <a:softEdge rad="12700"/>
          </a:effectLst>
        </p:spPr>
      </p:pic>
      <p:graphicFrame>
        <p:nvGraphicFramePr>
          <p:cNvPr id="13" name="Table 12"/>
          <p:cNvGraphicFramePr>
            <a:graphicFrameLocks noGrp="1"/>
          </p:cNvGraphicFramePr>
          <p:nvPr>
            <p:extLst/>
          </p:nvPr>
        </p:nvGraphicFramePr>
        <p:xfrm>
          <a:off x="1312580" y="1134848"/>
          <a:ext cx="7049160" cy="482371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1525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57659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05731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0920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No</a:t>
                      </a:r>
                      <a:endParaRPr lang="id-ID" sz="10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Nama Perusahaan</a:t>
                      </a:r>
                      <a:endParaRPr lang="id-ID" sz="10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Jenis Operator</a:t>
                      </a:r>
                      <a:endParaRPr lang="id-ID" sz="10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15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1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Indah Kiat Pulp &amp; Paper, Tbk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>
                          <a:effectLst/>
                        </a:rPr>
                        <a:t>Eksportir</a:t>
                      </a:r>
                      <a:endParaRPr lang="id-ID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915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>
                          <a:effectLst/>
                        </a:rPr>
                        <a:t>2</a:t>
                      </a:r>
                      <a:endParaRPr lang="id-ID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LG Electronics Indonesia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>
                          <a:effectLst/>
                        </a:rPr>
                        <a:t>Eksportir</a:t>
                      </a:r>
                      <a:endParaRPr lang="id-ID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915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3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Unilever Indonesia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Eksportir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915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>
                          <a:effectLst/>
                        </a:rPr>
                        <a:t>4</a:t>
                      </a:r>
                      <a:endParaRPr lang="id-ID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Nestle Indonesia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Eksportir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915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>
                          <a:effectLst/>
                        </a:rPr>
                        <a:t>5</a:t>
                      </a:r>
                      <a:endParaRPr lang="id-ID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Toyota Motor Manufacturing Indonesia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>
                          <a:effectLst/>
                        </a:rPr>
                        <a:t>Eksportir</a:t>
                      </a:r>
                      <a:endParaRPr lang="id-ID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915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>
                          <a:effectLst/>
                        </a:rPr>
                        <a:t>6</a:t>
                      </a:r>
                      <a:endParaRPr lang="id-ID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Megasetia Agung Kimia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>
                          <a:effectLst/>
                        </a:rPr>
                        <a:t>Importir; Eksportir</a:t>
                      </a:r>
                      <a:endParaRPr lang="id-ID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467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>
                          <a:effectLst/>
                        </a:rPr>
                        <a:t>7</a:t>
                      </a:r>
                      <a:endParaRPr lang="id-ID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Samsung Electronics Indonesia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Importir; Eksportir dan pengusaha TPB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915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>
                          <a:effectLst/>
                        </a:rPr>
                        <a:t>8</a:t>
                      </a:r>
                      <a:endParaRPr lang="id-ID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Agility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PPJK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915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>
                          <a:effectLst/>
                        </a:rPr>
                        <a:t>9</a:t>
                      </a:r>
                      <a:endParaRPr lang="id-ID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Agility Internasional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Pergudangan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915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>
                          <a:effectLst/>
                        </a:rPr>
                        <a:t>10</a:t>
                      </a:r>
                      <a:endParaRPr lang="id-ID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Astra Daihatsu motor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Importir; Eksportir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1237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>
                          <a:effectLst/>
                        </a:rPr>
                        <a:t>11</a:t>
                      </a:r>
                      <a:endParaRPr lang="id-ID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Pindo Deli Pulp &amp; Paper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Importir; Eksportir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915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>
                          <a:effectLst/>
                        </a:rPr>
                        <a:t>12</a:t>
                      </a:r>
                      <a:endParaRPr lang="id-ID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Lontar Papyrus Pulp &amp; Paper Industry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Importir; Eksportir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1915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>
                          <a:effectLst/>
                        </a:rPr>
                        <a:t>13</a:t>
                      </a:r>
                      <a:endParaRPr lang="id-ID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Jasa Angkasa Semesta (Sby/Dps)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pengusaha TPS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915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>
                          <a:effectLst/>
                        </a:rPr>
                        <a:t>14</a:t>
                      </a:r>
                      <a:endParaRPr lang="id-ID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Kintetsu World Express Indonesia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PPJK; pengusaha TPS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915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>
                          <a:effectLst/>
                        </a:rPr>
                        <a:t>15</a:t>
                      </a:r>
                      <a:endParaRPr lang="id-ID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Lautan Luas Tbk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Importir; Eksportir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915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>
                          <a:effectLst/>
                        </a:rPr>
                        <a:t>16</a:t>
                      </a:r>
                      <a:endParaRPr lang="id-ID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Toa Galva Industries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Importir; Eksportir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1915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>
                          <a:effectLst/>
                        </a:rPr>
                        <a:t>17</a:t>
                      </a:r>
                      <a:endParaRPr lang="id-ID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Sansan Saudaratex Jaya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Importir; Eksportir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1915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>
                          <a:effectLst/>
                        </a:rPr>
                        <a:t>18</a:t>
                      </a:r>
                      <a:endParaRPr lang="id-ID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Bentoel Internasional Investama Tbk.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Importir; Eksportir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1915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>
                          <a:effectLst/>
                        </a:rPr>
                        <a:t>19</a:t>
                      </a:r>
                      <a:endParaRPr lang="id-ID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Sriboga Flour Mill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Importir; Eksportir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1915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>
                          <a:effectLst/>
                        </a:rPr>
                        <a:t>20</a:t>
                      </a:r>
                      <a:endParaRPr lang="id-ID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Eratex Djaja Tbk. 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Importir; Eksportir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  <a:tr h="24359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>
                          <a:effectLst/>
                        </a:rPr>
                        <a:t>21</a:t>
                      </a:r>
                      <a:endParaRPr lang="id-ID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Honda Prospect Motor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Importir; Eksportir dan pengusaha TPB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  <a:tr h="1851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22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Cipta Krida Bahari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PPJK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22"/>
                  </a:ext>
                </a:extLst>
              </a:tr>
              <a:tr h="1785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AU" sz="10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23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AU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/>
                          <a:ea typeface="Calibri"/>
                          <a:cs typeface="Times New Roman"/>
                        </a:rPr>
                        <a:t>PT</a:t>
                      </a:r>
                      <a:r>
                        <a:rPr lang="en-AU" sz="1000" b="1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AU" sz="1000" b="1" baseline="0" dirty="0" err="1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/>
                          <a:ea typeface="Calibri"/>
                          <a:cs typeface="Times New Roman"/>
                        </a:rPr>
                        <a:t>Pusaka</a:t>
                      </a:r>
                      <a:r>
                        <a:rPr lang="en-AU" sz="1000" b="1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/>
                          <a:ea typeface="Calibri"/>
                          <a:cs typeface="Times New Roman"/>
                        </a:rPr>
                        <a:t> Lintas </a:t>
                      </a:r>
                      <a:r>
                        <a:rPr lang="en-AU" sz="1000" b="1" baseline="0" dirty="0" err="1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/>
                          <a:ea typeface="Calibri"/>
                          <a:cs typeface="Times New Roman"/>
                        </a:rPr>
                        <a:t>Samudra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AU" sz="10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PPJK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7467599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784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75152" y="377445"/>
            <a:ext cx="8872022" cy="6223009"/>
            <a:chOff x="-3175" y="115888"/>
            <a:chExt cx="9150350" cy="6756400"/>
          </a:xfrm>
        </p:grpSpPr>
        <p:pic>
          <p:nvPicPr>
            <p:cNvPr id="9" name="Picture 6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-3175" y="6376988"/>
              <a:ext cx="9144000" cy="495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Slide Number Placeholder 5"/>
            <p:cNvSpPr txBox="1">
              <a:spLocks/>
            </p:cNvSpPr>
            <p:nvPr/>
          </p:nvSpPr>
          <p:spPr>
            <a:xfrm>
              <a:off x="214313" y="6381750"/>
              <a:ext cx="2133600" cy="365125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EB3DBFA5-2FB4-48DD-BE63-D917D46CC28C}" type="slidenum">
                <a:rPr lang="en-US" sz="1002"/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18</a:t>
              </a:fld>
              <a:endParaRPr lang="en-US" sz="1002" dirty="0"/>
            </a:p>
          </p:txBody>
        </p:sp>
        <p:pic>
          <p:nvPicPr>
            <p:cNvPr id="14" name="Picture 11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175" y="6300788"/>
              <a:ext cx="9144000" cy="76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19063" y="115888"/>
              <a:ext cx="871537" cy="798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12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223963" y="838200"/>
              <a:ext cx="7920037" cy="36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8" name="Straight Connector 17"/>
            <p:cNvCxnSpPr/>
            <p:nvPr/>
          </p:nvCxnSpPr>
          <p:spPr>
            <a:xfrm rot="5400000">
              <a:off x="709612" y="509588"/>
              <a:ext cx="714375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Box 2"/>
          <p:cNvSpPr txBox="1"/>
          <p:nvPr/>
        </p:nvSpPr>
        <p:spPr>
          <a:xfrm>
            <a:off x="1520376" y="460825"/>
            <a:ext cx="7021829" cy="4008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200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</a:rPr>
              <a:t>DAFTAR PERUSAHAAN AEO</a:t>
            </a:r>
            <a:r>
              <a:rPr lang="en-AU" sz="200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</a:rPr>
              <a:t> SAAT INI </a:t>
            </a:r>
            <a:r>
              <a:rPr lang="is-IS" sz="200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</a:rPr>
              <a:t>… (2)</a:t>
            </a:r>
            <a:endParaRPr lang="id-ID" sz="1671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5935" y="322480"/>
            <a:ext cx="1097868" cy="818730"/>
          </a:xfrm>
          <a:prstGeom prst="rect">
            <a:avLst/>
          </a:prstGeom>
          <a:effectLst>
            <a:softEdge rad="12700"/>
          </a:effectLst>
        </p:spPr>
      </p:pic>
      <p:graphicFrame>
        <p:nvGraphicFramePr>
          <p:cNvPr id="13" name="Table 12"/>
          <p:cNvGraphicFramePr>
            <a:graphicFrameLocks noGrp="1"/>
          </p:cNvGraphicFramePr>
          <p:nvPr>
            <p:extLst/>
          </p:nvPr>
        </p:nvGraphicFramePr>
        <p:xfrm>
          <a:off x="1238699" y="1134847"/>
          <a:ext cx="6777236" cy="486088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9923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3862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93937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004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No</a:t>
                      </a:r>
                      <a:endParaRPr lang="id-ID" sz="10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Nama Perusahaan</a:t>
                      </a:r>
                      <a:endParaRPr lang="id-ID" sz="10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Jenis Operator</a:t>
                      </a:r>
                      <a:endParaRPr lang="id-ID" sz="10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481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</a:t>
                      </a:r>
                      <a:r>
                        <a:rPr lang="id-ID" sz="1000" b="1" dirty="0" err="1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Scandinavian</a:t>
                      </a:r>
                      <a:r>
                        <a:rPr lang="id-ID" sz="1000" b="1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</a:t>
                      </a:r>
                      <a:r>
                        <a:rPr lang="id-ID" sz="1000" b="1" baseline="0" dirty="0" err="1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Tobacco</a:t>
                      </a:r>
                      <a:r>
                        <a:rPr lang="id-ID" sz="1000" b="1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Group Indonesia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Eksportir, I</a:t>
                      </a:r>
                      <a:r>
                        <a:rPr lang="en-US" sz="1000" dirty="0">
                          <a:effectLst/>
                        </a:rPr>
                        <a:t>m</a:t>
                      </a:r>
                      <a:r>
                        <a:rPr lang="id-ID" sz="1000" dirty="0">
                          <a:effectLst/>
                        </a:rPr>
                        <a:t>portir,</a:t>
                      </a:r>
                      <a:r>
                        <a:rPr lang="id-ID" sz="1000" baseline="0" dirty="0">
                          <a:effectLst/>
                        </a:rPr>
                        <a:t> </a:t>
                      </a:r>
                      <a:r>
                        <a:rPr lang="id-ID" sz="1000" baseline="0" dirty="0" err="1">
                          <a:effectLst/>
                        </a:rPr>
                        <a:t>PengusahaTPB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481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Fajar</a:t>
                      </a:r>
                      <a:r>
                        <a:rPr lang="id-ID" sz="1000" b="1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Surya Wisesa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Eksportir, Importir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481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Makmur</a:t>
                      </a:r>
                      <a:r>
                        <a:rPr lang="id-ID" sz="1000" b="1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Meta Graha Dinamika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Eksportir, Importir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481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Frisian</a:t>
                      </a:r>
                      <a:r>
                        <a:rPr lang="id-ID" sz="1000" b="1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</a:t>
                      </a:r>
                      <a:r>
                        <a:rPr lang="id-ID" sz="1000" b="1" baseline="0" dirty="0" err="1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Flag</a:t>
                      </a:r>
                      <a:r>
                        <a:rPr lang="id-ID" sz="1000" b="1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Indonesia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Eksportir, Importir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481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</a:t>
                      </a:r>
                      <a:r>
                        <a:rPr lang="id-ID" sz="1000" b="1" dirty="0" err="1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Tigaka</a:t>
                      </a:r>
                      <a:r>
                        <a:rPr lang="id-ID" sz="1000" b="1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</a:t>
                      </a:r>
                      <a:r>
                        <a:rPr lang="id-ID" sz="1000" b="1" baseline="0" dirty="0" err="1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Distrindo</a:t>
                      </a:r>
                      <a:r>
                        <a:rPr lang="id-ID" sz="1000" b="1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Perkasa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Eksportir, Importir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481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Panggung</a:t>
                      </a:r>
                      <a:r>
                        <a:rPr lang="id-ID" sz="1000" b="1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Electric </a:t>
                      </a:r>
                      <a:r>
                        <a:rPr lang="id-ID" sz="1000" b="1" baseline="0" dirty="0" err="1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Citrabuana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Eksportir, Importir</a:t>
                      </a:r>
                      <a:endParaRPr lang="id-ID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5138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I</a:t>
                      </a:r>
                      <a:r>
                        <a:rPr lang="en-US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n</a:t>
                      </a:r>
                      <a:r>
                        <a:rPr lang="id-ID" sz="1000" b="1" dirty="0" err="1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dra</a:t>
                      </a:r>
                      <a:r>
                        <a:rPr lang="id-ID" sz="1000" b="1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Jaya Swastika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PPJK, Pengusaha</a:t>
                      </a:r>
                      <a:r>
                        <a:rPr lang="id-ID" sz="1000" baseline="0" dirty="0">
                          <a:effectLst/>
                        </a:rPr>
                        <a:t> TPS, Pengusaha TPB dan Depo Kontainer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481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</a:t>
                      </a:r>
                      <a:r>
                        <a:rPr lang="id-ID" sz="1000" b="1" dirty="0" err="1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Sumisho</a:t>
                      </a:r>
                      <a:r>
                        <a:rPr lang="id-ID" sz="1000" b="1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Global </a:t>
                      </a:r>
                      <a:r>
                        <a:rPr lang="id-ID" sz="1000" b="1" baseline="0" dirty="0" err="1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Logistic</a:t>
                      </a:r>
                      <a:r>
                        <a:rPr lang="id-ID" sz="1000" b="1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Indonesia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PPJK, Pergudangan, Pengusaha</a:t>
                      </a:r>
                      <a:r>
                        <a:rPr lang="id-ID" sz="1000" baseline="0" dirty="0">
                          <a:effectLst/>
                        </a:rPr>
                        <a:t> TPB, Pengangkut</a:t>
                      </a:r>
                      <a:endParaRPr lang="id-ID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481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Indonesia</a:t>
                      </a:r>
                      <a:r>
                        <a:rPr lang="id-ID" sz="1000" b="1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</a:t>
                      </a:r>
                      <a:r>
                        <a:rPr lang="id-ID" sz="1000" b="1" baseline="0" dirty="0" err="1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Wacoal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Eksportir, Importir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481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Riau</a:t>
                      </a:r>
                      <a:r>
                        <a:rPr lang="id-ID" sz="1000" b="1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Andalan Pulp </a:t>
                      </a:r>
                      <a:r>
                        <a:rPr lang="id-ID" sz="1000" b="1" baseline="0" dirty="0" err="1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and</a:t>
                      </a:r>
                      <a:r>
                        <a:rPr lang="id-ID" sz="1000" b="1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Paper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Eksportir, Importir, Pengusaha</a:t>
                      </a:r>
                      <a:r>
                        <a:rPr lang="id-ID" sz="1000" baseline="0" dirty="0">
                          <a:effectLst/>
                        </a:rPr>
                        <a:t> TPS, Pengusaha TPB</a:t>
                      </a:r>
                      <a:endParaRPr lang="id-ID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7506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Riau</a:t>
                      </a:r>
                      <a:r>
                        <a:rPr lang="id-ID" sz="1000" b="1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Andalan Kertas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Importir; Eksportir, Pengusaha TPB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481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</a:t>
                      </a:r>
                      <a:r>
                        <a:rPr lang="id-ID" sz="1000" b="1" dirty="0" err="1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Intiguna</a:t>
                      </a:r>
                      <a:r>
                        <a:rPr lang="id-ID" sz="1000" b="1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Primatama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Importir; Eksportir, Pengusaha TPB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6049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Anugerah</a:t>
                      </a:r>
                      <a:r>
                        <a:rPr lang="id-ID" sz="1000" b="1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Kertas Utama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 marL="0" marR="0" indent="0" algn="l" defTabSz="1008126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1000" dirty="0">
                          <a:effectLst/>
                        </a:rPr>
                        <a:t>Importir; Eksportir, Pengusaha TPB</a:t>
                      </a:r>
                      <a:endParaRPr lang="id-ID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481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  <a:latin typeface="+mn-lt"/>
                          <a:ea typeface="+mn-ea"/>
                          <a:cs typeface="+mn-cs"/>
                        </a:rPr>
                        <a:t>37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</a:t>
                      </a:r>
                      <a:r>
                        <a:rPr lang="id-ID" sz="1000" b="1" dirty="0" err="1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Kao</a:t>
                      </a:r>
                      <a:r>
                        <a:rPr lang="id-ID" sz="1000" b="1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Chemical Indonesia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Eksportir, Importir</a:t>
                      </a:r>
                      <a:endParaRPr lang="id-ID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481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  <a:latin typeface="+mn-lt"/>
                          <a:ea typeface="+mn-ea"/>
                          <a:cs typeface="+mn-cs"/>
                        </a:rPr>
                        <a:t>38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</a:t>
                      </a:r>
                      <a:r>
                        <a:rPr lang="id-ID" sz="1000" b="1" dirty="0" err="1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Inkote</a:t>
                      </a:r>
                      <a:r>
                        <a:rPr lang="id-ID" sz="1000" b="1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Indonesia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Eksportir, Importir</a:t>
                      </a:r>
                      <a:endParaRPr lang="id-ID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481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  <a:latin typeface="+mn-lt"/>
                          <a:ea typeface="+mn-ea"/>
                          <a:cs typeface="+mn-cs"/>
                        </a:rPr>
                        <a:t>39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</a:t>
                      </a:r>
                      <a:r>
                        <a:rPr lang="id-ID" sz="1000" b="1" dirty="0" err="1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Katolec</a:t>
                      </a:r>
                      <a:r>
                        <a:rPr lang="id-ID" sz="1000" b="1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Indonesia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Eksportir, Importir, Pengusaha TPB</a:t>
                      </a:r>
                      <a:endParaRPr lang="id-ID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481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 </a:t>
                      </a:r>
                      <a:r>
                        <a:rPr lang="id-ID" sz="1000" b="1" dirty="0" err="1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Birotika</a:t>
                      </a:r>
                      <a:r>
                        <a:rPr lang="id-ID" sz="1000" b="1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Semesta</a:t>
                      </a:r>
                      <a:endParaRPr lang="id-ID" sz="10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000" dirty="0">
                          <a:effectLst/>
                        </a:rPr>
                        <a:t>Pengusaha TPS</a:t>
                      </a:r>
                      <a:endParaRPr lang="id-ID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6882" marR="36882" marT="0" marB="0" anchor="ctr"/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0772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71978" y="341011"/>
            <a:ext cx="8872022" cy="6223009"/>
            <a:chOff x="-3175" y="115888"/>
            <a:chExt cx="9150350" cy="6756400"/>
          </a:xfrm>
        </p:grpSpPr>
        <p:pic>
          <p:nvPicPr>
            <p:cNvPr id="9" name="Picture 6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-3175" y="6376988"/>
              <a:ext cx="9144000" cy="495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Slide Number Placeholder 5"/>
            <p:cNvSpPr txBox="1">
              <a:spLocks/>
            </p:cNvSpPr>
            <p:nvPr/>
          </p:nvSpPr>
          <p:spPr>
            <a:xfrm>
              <a:off x="214313" y="6381750"/>
              <a:ext cx="2133600" cy="365125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EB3DBFA5-2FB4-48DD-BE63-D917D46CC28C}" type="slidenum">
                <a:rPr lang="en-US" sz="1002"/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19</a:t>
              </a:fld>
              <a:endParaRPr lang="en-US" sz="1002" dirty="0"/>
            </a:p>
          </p:txBody>
        </p:sp>
        <p:pic>
          <p:nvPicPr>
            <p:cNvPr id="14" name="Picture 11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175" y="6300788"/>
              <a:ext cx="9144000" cy="76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19063" y="115888"/>
              <a:ext cx="871537" cy="798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12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223963" y="838200"/>
              <a:ext cx="7920037" cy="36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8" name="Straight Connector 17"/>
            <p:cNvCxnSpPr/>
            <p:nvPr/>
          </p:nvCxnSpPr>
          <p:spPr>
            <a:xfrm rot="5400000">
              <a:off x="709612" y="509588"/>
              <a:ext cx="714375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 txBox="1">
            <a:spLocks/>
          </p:cNvSpPr>
          <p:nvPr/>
        </p:nvSpPr>
        <p:spPr>
          <a:xfrm>
            <a:off x="1286675" y="461676"/>
            <a:ext cx="6714138" cy="723078"/>
          </a:xfrm>
          <a:prstGeom prst="rect">
            <a:avLst/>
          </a:prstGeom>
        </p:spPr>
        <p:txBody>
          <a:bodyPr vert="horz" lIns="76388" tIns="38194" rIns="76388" bIns="38194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339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+mn-ea"/>
                <a:cs typeface="+mn-cs"/>
              </a:rPr>
              <a:t>   </a:t>
            </a:r>
            <a:r>
              <a:rPr lang="en-US" sz="267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+mn-ea"/>
                <a:cs typeface="+mn-cs"/>
              </a:rPr>
              <a:t>KRITERIA AEO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1460916" y="1603474"/>
            <a:ext cx="6492969" cy="481237"/>
            <a:chOff x="33462" y="1556792"/>
            <a:chExt cx="8642994" cy="576064"/>
          </a:xfrm>
        </p:grpSpPr>
        <p:sp>
          <p:nvSpPr>
            <p:cNvPr id="15" name="Chevron 14"/>
            <p:cNvSpPr/>
            <p:nvPr/>
          </p:nvSpPr>
          <p:spPr>
            <a:xfrm>
              <a:off x="35496" y="1556792"/>
              <a:ext cx="8640960" cy="576064"/>
            </a:xfrm>
            <a:prstGeom prst="chevron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>
                <a:lnSpc>
                  <a:spcPct val="115000"/>
                </a:lnSpc>
              </a:pPr>
              <a:r>
                <a:rPr lang="id-ID" sz="1600" b="1" dirty="0">
                  <a:solidFill>
                    <a:sysClr val="windowText" lastClr="000000"/>
                  </a:solidFill>
                  <a:latin typeface="Calibri" pitchFamily="34" charset="0"/>
                  <a:ea typeface="굴림" pitchFamily="50" charset="-127"/>
                  <a:cs typeface="Calibri" pitchFamily="34" charset="0"/>
                </a:rPr>
                <a:t>Menunjukkan kepatuhan terhadap peraturan kepabeanan dan/atau cukai</a:t>
              </a:r>
            </a:p>
          </p:txBody>
        </p:sp>
        <p:sp>
          <p:nvSpPr>
            <p:cNvPr id="19" name="Oval 18"/>
            <p:cNvSpPr/>
            <p:nvPr/>
          </p:nvSpPr>
          <p:spPr>
            <a:xfrm>
              <a:off x="33462" y="1700808"/>
              <a:ext cx="290066" cy="260147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1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 flipH="1">
            <a:off x="1460916" y="2205020"/>
            <a:ext cx="6492969" cy="481237"/>
            <a:chOff x="539552" y="2276872"/>
            <a:chExt cx="8604448" cy="576064"/>
          </a:xfrm>
        </p:grpSpPr>
        <p:sp>
          <p:nvSpPr>
            <p:cNvPr id="21" name="Chevron 20"/>
            <p:cNvSpPr/>
            <p:nvPr/>
          </p:nvSpPr>
          <p:spPr>
            <a:xfrm>
              <a:off x="539552" y="2276872"/>
              <a:ext cx="8604448" cy="576064"/>
            </a:xfrm>
            <a:prstGeom prst="chevron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>
                <a:lnSpc>
                  <a:spcPct val="115000"/>
                </a:lnSpc>
              </a:pPr>
              <a:r>
                <a:rPr lang="id-ID" sz="1600" b="1" dirty="0">
                  <a:solidFill>
                    <a:sysClr val="windowText" lastClr="000000"/>
                  </a:solidFill>
                  <a:latin typeface="Calibri" pitchFamily="34" charset="0"/>
                  <a:ea typeface="굴림" pitchFamily="50" charset="-127"/>
                  <a:cs typeface="Calibri" pitchFamily="34" charset="0"/>
                </a:rPr>
                <a:t>Mempunyai sistem pengelolaan data perdagangan</a:t>
              </a:r>
            </a:p>
          </p:txBody>
        </p:sp>
        <p:sp>
          <p:nvSpPr>
            <p:cNvPr id="22" name="Oval 21"/>
            <p:cNvSpPr/>
            <p:nvPr/>
          </p:nvSpPr>
          <p:spPr>
            <a:xfrm>
              <a:off x="539552" y="2434830"/>
              <a:ext cx="290066" cy="260147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2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1460916" y="2806567"/>
            <a:ext cx="6492969" cy="481237"/>
            <a:chOff x="35496" y="2996952"/>
            <a:chExt cx="8640960" cy="576064"/>
          </a:xfrm>
        </p:grpSpPr>
        <p:sp>
          <p:nvSpPr>
            <p:cNvPr id="24" name="Chevron 23"/>
            <p:cNvSpPr/>
            <p:nvPr/>
          </p:nvSpPr>
          <p:spPr>
            <a:xfrm>
              <a:off x="35496" y="2996952"/>
              <a:ext cx="8640960" cy="576064"/>
            </a:xfrm>
            <a:prstGeom prst="chevron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>
                <a:lnSpc>
                  <a:spcPct val="115000"/>
                </a:lnSpc>
              </a:pPr>
              <a:r>
                <a:rPr lang="id-ID" sz="1600" b="1" dirty="0">
                  <a:solidFill>
                    <a:sysClr val="windowText" lastClr="000000"/>
                  </a:solidFill>
                  <a:latin typeface="Calibri" pitchFamily="34" charset="0"/>
                  <a:ea typeface="굴림" pitchFamily="50" charset="-127"/>
                  <a:cs typeface="Calibri" pitchFamily="34" charset="0"/>
                </a:rPr>
                <a:t>Mempunyai kemampuan keuangan</a:t>
              </a:r>
            </a:p>
          </p:txBody>
        </p:sp>
        <p:sp>
          <p:nvSpPr>
            <p:cNvPr id="25" name="Oval 24"/>
            <p:cNvSpPr/>
            <p:nvPr/>
          </p:nvSpPr>
          <p:spPr>
            <a:xfrm>
              <a:off x="39118" y="3154910"/>
              <a:ext cx="290066" cy="260147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3</a:t>
              </a: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1460915" y="4009659"/>
            <a:ext cx="6475972" cy="481237"/>
            <a:chOff x="35496" y="4437112"/>
            <a:chExt cx="8640960" cy="576064"/>
          </a:xfrm>
        </p:grpSpPr>
        <p:sp>
          <p:nvSpPr>
            <p:cNvPr id="27" name="Chevron 26"/>
            <p:cNvSpPr/>
            <p:nvPr/>
          </p:nvSpPr>
          <p:spPr>
            <a:xfrm>
              <a:off x="35496" y="4437112"/>
              <a:ext cx="8640960" cy="576064"/>
            </a:xfrm>
            <a:prstGeom prst="chevron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>
                <a:lnSpc>
                  <a:spcPct val="115000"/>
                </a:lnSpc>
              </a:pPr>
              <a:r>
                <a:rPr lang="id-ID" sz="1600" b="1" dirty="0">
                  <a:solidFill>
                    <a:sysClr val="windowText" lastClr="000000"/>
                  </a:solidFill>
                  <a:latin typeface="Calibri" pitchFamily="34" charset="0"/>
                  <a:ea typeface="굴림" pitchFamily="50" charset="-127"/>
                  <a:cs typeface="Calibri" pitchFamily="34" charset="0"/>
                </a:rPr>
                <a:t>Mempunyai sistem pendidikan, pelatihan, dan kepedulian</a:t>
              </a:r>
            </a:p>
          </p:txBody>
        </p:sp>
        <p:sp>
          <p:nvSpPr>
            <p:cNvPr id="28" name="Oval 27"/>
            <p:cNvSpPr/>
            <p:nvPr/>
          </p:nvSpPr>
          <p:spPr>
            <a:xfrm>
              <a:off x="39118" y="4581774"/>
              <a:ext cx="290066" cy="260147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5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 flipH="1">
            <a:off x="1460916" y="3408113"/>
            <a:ext cx="6492969" cy="481237"/>
            <a:chOff x="691952" y="3717032"/>
            <a:chExt cx="8452048" cy="576064"/>
          </a:xfrm>
        </p:grpSpPr>
        <p:sp>
          <p:nvSpPr>
            <p:cNvPr id="30" name="Chevron 29"/>
            <p:cNvSpPr/>
            <p:nvPr/>
          </p:nvSpPr>
          <p:spPr>
            <a:xfrm>
              <a:off x="691952" y="3717032"/>
              <a:ext cx="8452048" cy="576064"/>
            </a:xfrm>
            <a:prstGeom prst="chevron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>
                <a:lnSpc>
                  <a:spcPct val="115000"/>
                </a:lnSpc>
              </a:pPr>
              <a:r>
                <a:rPr lang="id-ID" sz="1600" b="1" dirty="0">
                  <a:solidFill>
                    <a:sysClr val="windowText" lastClr="000000"/>
                  </a:solidFill>
                  <a:latin typeface="Calibri" pitchFamily="34" charset="0"/>
                  <a:ea typeface="굴림" pitchFamily="50" charset="-127"/>
                  <a:cs typeface="Calibri" pitchFamily="34" charset="0"/>
                </a:rPr>
                <a:t>Mempunyai sistem konsultasi, kerjasama, dan komunikasi</a:t>
              </a:r>
            </a:p>
          </p:txBody>
        </p:sp>
        <p:sp>
          <p:nvSpPr>
            <p:cNvPr id="31" name="Oval 30"/>
            <p:cNvSpPr/>
            <p:nvPr/>
          </p:nvSpPr>
          <p:spPr>
            <a:xfrm>
              <a:off x="714078" y="3874990"/>
              <a:ext cx="290066" cy="260147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4</a:t>
              </a:r>
            </a:p>
          </p:txBody>
        </p:sp>
      </p:grpSp>
      <p:grpSp>
        <p:nvGrpSpPr>
          <p:cNvPr id="32" name="Group 31"/>
          <p:cNvGrpSpPr/>
          <p:nvPr/>
        </p:nvGrpSpPr>
        <p:grpSpPr>
          <a:xfrm flipH="1">
            <a:off x="1460916" y="4611205"/>
            <a:ext cx="6475971" cy="481237"/>
            <a:chOff x="683568" y="5157192"/>
            <a:chExt cx="8460432" cy="576064"/>
          </a:xfrm>
        </p:grpSpPr>
        <p:sp>
          <p:nvSpPr>
            <p:cNvPr id="33" name="Chevron 32"/>
            <p:cNvSpPr/>
            <p:nvPr/>
          </p:nvSpPr>
          <p:spPr>
            <a:xfrm>
              <a:off x="683568" y="5157192"/>
              <a:ext cx="8460432" cy="576064"/>
            </a:xfrm>
            <a:prstGeom prst="chevron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>
                <a:lnSpc>
                  <a:spcPct val="115000"/>
                </a:lnSpc>
              </a:pPr>
              <a:r>
                <a:rPr lang="id-ID" sz="1600" b="1" dirty="0">
                  <a:solidFill>
                    <a:sysClr val="windowText" lastClr="000000"/>
                  </a:solidFill>
                  <a:latin typeface="Calibri" pitchFamily="34" charset="0"/>
                  <a:ea typeface="굴림" pitchFamily="50" charset="-127"/>
                  <a:cs typeface="Calibri" pitchFamily="34" charset="0"/>
                </a:rPr>
                <a:t>Mempunyai sistem pertukaran informasi, akses, dan kerahasiaan</a:t>
              </a:r>
            </a:p>
          </p:txBody>
        </p:sp>
        <p:sp>
          <p:nvSpPr>
            <p:cNvPr id="34" name="Oval 33"/>
            <p:cNvSpPr/>
            <p:nvPr/>
          </p:nvSpPr>
          <p:spPr>
            <a:xfrm>
              <a:off x="683568" y="5315150"/>
              <a:ext cx="290066" cy="260147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6</a:t>
              </a:r>
            </a:p>
          </p:txBody>
        </p:sp>
      </p:grpSp>
      <p:sp>
        <p:nvSpPr>
          <p:cNvPr id="35" name="Rectangle 34"/>
          <p:cNvSpPr/>
          <p:nvPr/>
        </p:nvSpPr>
        <p:spPr>
          <a:xfrm>
            <a:off x="3128412" y="298098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id-ID" dirty="0"/>
          </a:p>
        </p:txBody>
      </p:sp>
      <p:sp>
        <p:nvSpPr>
          <p:cNvPr id="36" name="Rectangle 35"/>
          <p:cNvSpPr/>
          <p:nvPr/>
        </p:nvSpPr>
        <p:spPr>
          <a:xfrm>
            <a:off x="2734047" y="2865283"/>
            <a:ext cx="3819394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id-ID" dirty="0"/>
          </a:p>
        </p:txBody>
      </p:sp>
      <p:sp>
        <p:nvSpPr>
          <p:cNvPr id="37" name="Rectangle 36"/>
          <p:cNvSpPr/>
          <p:nvPr/>
        </p:nvSpPr>
        <p:spPr>
          <a:xfrm>
            <a:off x="2734047" y="2865283"/>
            <a:ext cx="3819394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id-ID" dirty="0"/>
          </a:p>
        </p:txBody>
      </p:sp>
      <p:sp>
        <p:nvSpPr>
          <p:cNvPr id="38" name="Rectangle 37"/>
          <p:cNvSpPr/>
          <p:nvPr/>
        </p:nvSpPr>
        <p:spPr>
          <a:xfrm>
            <a:off x="2734047" y="2865283"/>
            <a:ext cx="3819394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id-ID" dirty="0"/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659" y="325296"/>
            <a:ext cx="1097868" cy="818730"/>
          </a:xfrm>
          <a:prstGeom prst="rect">
            <a:avLst/>
          </a:prstGeom>
          <a:effectLst>
            <a:softEdge rad="12700"/>
          </a:effectLst>
        </p:spPr>
      </p:pic>
    </p:spTree>
    <p:extLst>
      <p:ext uri="{BB962C8B-B14F-4D97-AF65-F5344CB8AC3E}">
        <p14:creationId xmlns:p14="http://schemas.microsoft.com/office/powerpoint/2010/main" val="966354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d-ID" b="1" dirty="0" smtClean="0">
                <a:latin typeface="Georgia" charset="0"/>
                <a:ea typeface="Georgia" charset="0"/>
                <a:cs typeface="Georgia" charset="0"/>
              </a:rPr>
              <a:t>  DASAR HUKUM</a:t>
            </a:r>
            <a:endParaRPr lang="id-ID" b="1" dirty="0">
              <a:latin typeface="Georgia" charset="0"/>
              <a:ea typeface="Georgia" charset="0"/>
              <a:cs typeface="Georgia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 algn="just">
              <a:buFont typeface="+mj-lt"/>
              <a:buAutoNum type="arabicPeriod"/>
            </a:pPr>
            <a:r>
              <a:rPr lang="id-ID" sz="2400" dirty="0">
                <a:latin typeface="Garamond" charset="0"/>
                <a:ea typeface="Garamond" charset="0"/>
                <a:cs typeface="Garamond" charset="0"/>
              </a:rPr>
              <a:t>Instruksi Presiden Nomor 1 Tahun 2010 tentang Percepatan Pelaksanaan Prioritas Pembangunan Nasional Tahun </a:t>
            </a:r>
            <a:r>
              <a:rPr lang="id-ID" sz="2400" dirty="0" smtClean="0">
                <a:latin typeface="Garamond" charset="0"/>
                <a:ea typeface="Garamond" charset="0"/>
                <a:cs typeface="Garamond" charset="0"/>
              </a:rPr>
              <a:t>2010;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id-ID" sz="2400" dirty="0" smtClean="0">
                <a:latin typeface="Garamond" charset="0"/>
                <a:ea typeface="Garamond" charset="0"/>
                <a:cs typeface="Garamond" charset="0"/>
              </a:rPr>
              <a:t>Peraturan Menteri Keuangan Nomor 227/PMK.04/2014 Tentang </a:t>
            </a:r>
            <a:r>
              <a:rPr lang="id-ID" sz="2400" dirty="0" err="1" smtClean="0">
                <a:latin typeface="Garamond" charset="0"/>
                <a:ea typeface="Garamond" charset="0"/>
                <a:cs typeface="Garamond" charset="0"/>
              </a:rPr>
              <a:t>Opertor</a:t>
            </a:r>
            <a:r>
              <a:rPr lang="id-ID" sz="2400" dirty="0" smtClean="0">
                <a:latin typeface="Garamond" charset="0"/>
                <a:ea typeface="Garamond" charset="0"/>
                <a:cs typeface="Garamond" charset="0"/>
              </a:rPr>
              <a:t> Ekonomi Bersertifikat </a:t>
            </a:r>
            <a:r>
              <a:rPr lang="id-ID" sz="2400" i="1" dirty="0" smtClean="0">
                <a:latin typeface="Garamond" charset="0"/>
                <a:ea typeface="Garamond" charset="0"/>
                <a:cs typeface="Garamond" charset="0"/>
              </a:rPr>
              <a:t>(</a:t>
            </a:r>
            <a:r>
              <a:rPr lang="id-ID" sz="2400" i="1" dirty="0" err="1" smtClean="0">
                <a:latin typeface="Garamond" charset="0"/>
                <a:ea typeface="Garamond" charset="0"/>
                <a:cs typeface="Garamond" charset="0"/>
              </a:rPr>
              <a:t>Authorized</a:t>
            </a:r>
            <a:r>
              <a:rPr lang="id-ID" sz="2400" i="1" dirty="0" smtClean="0">
                <a:latin typeface="Garamond" charset="0"/>
                <a:ea typeface="Garamond" charset="0"/>
                <a:cs typeface="Garamond" charset="0"/>
              </a:rPr>
              <a:t> </a:t>
            </a:r>
            <a:r>
              <a:rPr lang="id-ID" sz="2400" i="1" dirty="0" err="1" smtClean="0">
                <a:latin typeface="Garamond" charset="0"/>
                <a:ea typeface="Garamond" charset="0"/>
                <a:cs typeface="Garamond" charset="0"/>
              </a:rPr>
              <a:t>Economic</a:t>
            </a:r>
            <a:r>
              <a:rPr lang="id-ID" sz="2400" i="1" dirty="0" smtClean="0">
                <a:latin typeface="Garamond" charset="0"/>
                <a:ea typeface="Garamond" charset="0"/>
                <a:cs typeface="Garamond" charset="0"/>
              </a:rPr>
              <a:t> Operator</a:t>
            </a:r>
            <a:r>
              <a:rPr lang="id-ID" sz="2400" dirty="0" smtClean="0">
                <a:latin typeface="Garamond" charset="0"/>
                <a:ea typeface="Garamond" charset="0"/>
                <a:cs typeface="Garamond" charset="0"/>
              </a:rPr>
              <a:t>) ;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id-ID" sz="2400" dirty="0" smtClean="0">
                <a:latin typeface="Garamond" charset="0"/>
                <a:ea typeface="Garamond" charset="0"/>
                <a:cs typeface="Garamond" charset="0"/>
              </a:rPr>
              <a:t>Peraturan Direktur Jenderal Bea dan Cukai Nomor Per-4/BC/2015 Tentang Tata Cara Pemberian Pengakuan Kepabeanan sebagai Operator Ekonomi Bersertifikat (</a:t>
            </a:r>
            <a:r>
              <a:rPr lang="id-ID" sz="2400" dirty="0" err="1" smtClean="0">
                <a:latin typeface="Garamond" charset="0"/>
                <a:ea typeface="Garamond" charset="0"/>
                <a:cs typeface="Garamond" charset="0"/>
              </a:rPr>
              <a:t>Authorized</a:t>
            </a:r>
            <a:r>
              <a:rPr lang="id-ID" sz="2400" dirty="0" smtClean="0">
                <a:latin typeface="Garamond" charset="0"/>
                <a:ea typeface="Garamond" charset="0"/>
                <a:cs typeface="Garamond" charset="0"/>
              </a:rPr>
              <a:t> </a:t>
            </a:r>
            <a:r>
              <a:rPr lang="id-ID" sz="2400" dirty="0" err="1" smtClean="0">
                <a:latin typeface="Garamond" charset="0"/>
                <a:ea typeface="Garamond" charset="0"/>
                <a:cs typeface="Garamond" charset="0"/>
              </a:rPr>
              <a:t>Economic</a:t>
            </a:r>
            <a:r>
              <a:rPr lang="id-ID" sz="2400" dirty="0" smtClean="0">
                <a:latin typeface="Garamond" charset="0"/>
                <a:ea typeface="Garamond" charset="0"/>
                <a:cs typeface="Garamond" charset="0"/>
              </a:rPr>
              <a:t> Operator).</a:t>
            </a:r>
          </a:p>
          <a:p>
            <a:pPr algn="just"/>
            <a:endParaRPr lang="id-ID" dirty="0"/>
          </a:p>
          <a:p>
            <a:pPr algn="just"/>
            <a:endParaRPr lang="id-ID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62743"/>
            <a:ext cx="1097868" cy="818730"/>
          </a:xfrm>
          <a:prstGeom prst="rect">
            <a:avLst/>
          </a:prstGeom>
          <a:effectLst>
            <a:softEdge rad="12700"/>
          </a:effectLst>
        </p:spPr>
      </p:pic>
    </p:spTree>
    <p:extLst>
      <p:ext uri="{BB962C8B-B14F-4D97-AF65-F5344CB8AC3E}">
        <p14:creationId xmlns:p14="http://schemas.microsoft.com/office/powerpoint/2010/main" val="2016199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75152" y="377445"/>
            <a:ext cx="8872022" cy="6223009"/>
            <a:chOff x="-3175" y="115888"/>
            <a:chExt cx="9150350" cy="6756400"/>
          </a:xfrm>
        </p:grpSpPr>
        <p:pic>
          <p:nvPicPr>
            <p:cNvPr id="9" name="Picture 6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-3175" y="6376988"/>
              <a:ext cx="9144000" cy="495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Slide Number Placeholder 5"/>
            <p:cNvSpPr txBox="1">
              <a:spLocks/>
            </p:cNvSpPr>
            <p:nvPr/>
          </p:nvSpPr>
          <p:spPr>
            <a:xfrm>
              <a:off x="214313" y="6381750"/>
              <a:ext cx="2133600" cy="365125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EB3DBFA5-2FB4-48DD-BE63-D917D46CC28C}" type="slidenum">
                <a:rPr lang="en-US" sz="1002"/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20</a:t>
              </a:fld>
              <a:endParaRPr lang="en-US" sz="1002" dirty="0"/>
            </a:p>
          </p:txBody>
        </p:sp>
        <p:pic>
          <p:nvPicPr>
            <p:cNvPr id="14" name="Picture 11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175" y="6300788"/>
              <a:ext cx="9144000" cy="76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19063" y="115888"/>
              <a:ext cx="871537" cy="798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12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223963" y="838200"/>
              <a:ext cx="7920037" cy="36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8" name="Straight Connector 17"/>
            <p:cNvCxnSpPr/>
            <p:nvPr/>
          </p:nvCxnSpPr>
          <p:spPr>
            <a:xfrm rot="5400000">
              <a:off x="709612" y="509588"/>
              <a:ext cx="714375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/>
          <p:cNvGrpSpPr/>
          <p:nvPr/>
        </p:nvGrpSpPr>
        <p:grpSpPr>
          <a:xfrm>
            <a:off x="1459820" y="1463687"/>
            <a:ext cx="6315533" cy="481237"/>
            <a:chOff x="1138296" y="908720"/>
            <a:chExt cx="7125360" cy="576064"/>
          </a:xfrm>
        </p:grpSpPr>
        <p:sp>
          <p:nvSpPr>
            <p:cNvPr id="11" name="Chevron 10"/>
            <p:cNvSpPr/>
            <p:nvPr/>
          </p:nvSpPr>
          <p:spPr>
            <a:xfrm>
              <a:off x="1138296" y="908720"/>
              <a:ext cx="7125360" cy="576064"/>
            </a:xfrm>
            <a:prstGeom prst="chevron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>
                <a:lnSpc>
                  <a:spcPct val="115000"/>
                </a:lnSpc>
                <a:buClrTx/>
                <a:defRPr/>
              </a:pPr>
              <a:r>
                <a:rPr lang="id-ID" altLang="ko-KR" sz="1600" b="1" dirty="0">
                  <a:solidFill>
                    <a:sysClr val="windowText" lastClr="000000"/>
                  </a:solidFill>
                  <a:latin typeface="Calibri" pitchFamily="34" charset="0"/>
                  <a:ea typeface="굴림" pitchFamily="50" charset="-127"/>
                  <a:cs typeface="Calibri" pitchFamily="34" charset="0"/>
                </a:rPr>
                <a:t>Mempunyai sistem keamanan kargo</a:t>
              </a:r>
              <a:endParaRPr lang="en-US" altLang="ko-KR" sz="1600" b="1" dirty="0">
                <a:solidFill>
                  <a:sysClr val="windowText" lastClr="000000"/>
                </a:solidFill>
                <a:latin typeface="Calibri" pitchFamily="34" charset="0"/>
                <a:ea typeface="굴림" pitchFamily="50" charset="-127"/>
                <a:cs typeface="Calibri" pitchFamily="34" charset="0"/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1138296" y="1066678"/>
              <a:ext cx="311302" cy="288000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7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 flipH="1">
            <a:off x="1459820" y="2004675"/>
            <a:ext cx="6315533" cy="481237"/>
            <a:chOff x="1138296" y="908720"/>
            <a:chExt cx="7125360" cy="576064"/>
          </a:xfrm>
        </p:grpSpPr>
        <p:sp>
          <p:nvSpPr>
            <p:cNvPr id="20" name="Chevron 19"/>
            <p:cNvSpPr/>
            <p:nvPr/>
          </p:nvSpPr>
          <p:spPr>
            <a:xfrm>
              <a:off x="1138296" y="908720"/>
              <a:ext cx="7125360" cy="576064"/>
            </a:xfrm>
            <a:prstGeom prst="chevron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>
                <a:lnSpc>
                  <a:spcPct val="115000"/>
                </a:lnSpc>
                <a:buClrTx/>
                <a:defRPr/>
              </a:pPr>
              <a:r>
                <a:rPr lang="id-ID" altLang="ko-KR" sz="1600" b="1" dirty="0">
                  <a:solidFill>
                    <a:sysClr val="windowText" lastClr="000000"/>
                  </a:solidFill>
                  <a:latin typeface="Calibri" pitchFamily="34" charset="0"/>
                  <a:ea typeface="굴림" pitchFamily="50" charset="-127"/>
                  <a:cs typeface="Calibri" pitchFamily="34" charset="0"/>
                </a:rPr>
                <a:t>Mempunyai sistem keamanan pergerakan barang</a:t>
              </a:r>
            </a:p>
          </p:txBody>
        </p:sp>
        <p:sp>
          <p:nvSpPr>
            <p:cNvPr id="21" name="Oval 20"/>
            <p:cNvSpPr/>
            <p:nvPr/>
          </p:nvSpPr>
          <p:spPr>
            <a:xfrm>
              <a:off x="1138296" y="1066678"/>
              <a:ext cx="311302" cy="288000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id-ID" dirty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8</a:t>
              </a:r>
              <a:endParaRPr lang="en-US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1459820" y="2566652"/>
            <a:ext cx="6315533" cy="481237"/>
            <a:chOff x="1138296" y="908720"/>
            <a:chExt cx="7125360" cy="576064"/>
          </a:xfrm>
        </p:grpSpPr>
        <p:sp>
          <p:nvSpPr>
            <p:cNvPr id="23" name="Chevron 22"/>
            <p:cNvSpPr/>
            <p:nvPr/>
          </p:nvSpPr>
          <p:spPr>
            <a:xfrm>
              <a:off x="1138296" y="908720"/>
              <a:ext cx="7125360" cy="576064"/>
            </a:xfrm>
            <a:prstGeom prst="chevron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>
                <a:lnSpc>
                  <a:spcPct val="115000"/>
                </a:lnSpc>
                <a:buClrTx/>
                <a:defRPr/>
              </a:pPr>
              <a:r>
                <a:rPr lang="id-ID" altLang="ko-KR" sz="1600" b="1" dirty="0">
                  <a:solidFill>
                    <a:sysClr val="windowText" lastClr="000000"/>
                  </a:solidFill>
                  <a:latin typeface="Calibri" pitchFamily="34" charset="0"/>
                  <a:ea typeface="굴림" pitchFamily="50" charset="-127"/>
                  <a:cs typeface="Calibri" pitchFamily="34" charset="0"/>
                </a:rPr>
                <a:t>Mempunyai sistem keamanan lokasi</a:t>
              </a:r>
              <a:endParaRPr lang="en-US" altLang="ko-KR" sz="1600" b="1" dirty="0">
                <a:solidFill>
                  <a:sysClr val="windowText" lastClr="000000"/>
                </a:solidFill>
                <a:latin typeface="Calibri" pitchFamily="34" charset="0"/>
                <a:ea typeface="굴림" pitchFamily="50" charset="-127"/>
                <a:cs typeface="Calibri" pitchFamily="34" charset="0"/>
              </a:endParaRPr>
            </a:p>
          </p:txBody>
        </p:sp>
        <p:sp>
          <p:nvSpPr>
            <p:cNvPr id="24" name="Oval 23"/>
            <p:cNvSpPr/>
            <p:nvPr/>
          </p:nvSpPr>
          <p:spPr>
            <a:xfrm>
              <a:off x="1138296" y="1066678"/>
              <a:ext cx="311302" cy="288000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id-ID" dirty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9</a:t>
              </a:r>
              <a:endParaRPr lang="en-US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 flipH="1">
            <a:off x="1459820" y="3135252"/>
            <a:ext cx="6315533" cy="481237"/>
            <a:chOff x="1138296" y="908720"/>
            <a:chExt cx="7125360" cy="576064"/>
          </a:xfrm>
        </p:grpSpPr>
        <p:sp>
          <p:nvSpPr>
            <p:cNvPr id="26" name="Chevron 25"/>
            <p:cNvSpPr/>
            <p:nvPr/>
          </p:nvSpPr>
          <p:spPr>
            <a:xfrm>
              <a:off x="1138296" y="908720"/>
              <a:ext cx="7125360" cy="576064"/>
            </a:xfrm>
            <a:prstGeom prst="chevron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>
                <a:lnSpc>
                  <a:spcPct val="115000"/>
                </a:lnSpc>
                <a:buClrTx/>
                <a:defRPr/>
              </a:pPr>
              <a:r>
                <a:rPr lang="en-US" altLang="ko-KR" sz="1600" b="1" dirty="0" err="1">
                  <a:solidFill>
                    <a:sysClr val="windowText" lastClr="000000"/>
                  </a:solidFill>
                  <a:latin typeface="Calibri" pitchFamily="34" charset="0"/>
                  <a:ea typeface="굴림" pitchFamily="50" charset="-127"/>
                  <a:cs typeface="Calibri" pitchFamily="34" charset="0"/>
                </a:rPr>
                <a:t>Mempunyai</a:t>
              </a:r>
              <a:r>
                <a:rPr lang="en-US" altLang="ko-KR" sz="1600" b="1" dirty="0">
                  <a:solidFill>
                    <a:sysClr val="windowText" lastClr="000000"/>
                  </a:solidFill>
                  <a:latin typeface="Calibri" pitchFamily="34" charset="0"/>
                  <a:ea typeface="굴림" pitchFamily="50" charset="-127"/>
                  <a:cs typeface="Calibri" pitchFamily="34" charset="0"/>
                </a:rPr>
                <a:t> </a:t>
              </a:r>
              <a:r>
                <a:rPr lang="en-US" altLang="ko-KR" sz="1600" b="1" dirty="0" err="1">
                  <a:solidFill>
                    <a:sysClr val="windowText" lastClr="000000"/>
                  </a:solidFill>
                  <a:latin typeface="Calibri" pitchFamily="34" charset="0"/>
                  <a:ea typeface="굴림" pitchFamily="50" charset="-127"/>
                  <a:cs typeface="Calibri" pitchFamily="34" charset="0"/>
                </a:rPr>
                <a:t>sistem</a:t>
              </a:r>
              <a:r>
                <a:rPr lang="en-US" altLang="ko-KR" sz="1600" b="1" dirty="0">
                  <a:solidFill>
                    <a:sysClr val="windowText" lastClr="000000"/>
                  </a:solidFill>
                  <a:latin typeface="Calibri" pitchFamily="34" charset="0"/>
                  <a:ea typeface="굴림" pitchFamily="50" charset="-127"/>
                  <a:cs typeface="Calibri" pitchFamily="34" charset="0"/>
                </a:rPr>
                <a:t> </a:t>
              </a:r>
              <a:r>
                <a:rPr lang="en-US" altLang="ko-KR" sz="1600" b="1" dirty="0" err="1">
                  <a:solidFill>
                    <a:sysClr val="windowText" lastClr="000000"/>
                  </a:solidFill>
                  <a:latin typeface="Calibri" pitchFamily="34" charset="0"/>
                  <a:ea typeface="굴림" pitchFamily="50" charset="-127"/>
                  <a:cs typeface="Calibri" pitchFamily="34" charset="0"/>
                </a:rPr>
                <a:t>keamanan</a:t>
              </a:r>
              <a:r>
                <a:rPr lang="en-US" altLang="ko-KR" sz="1600" b="1" dirty="0">
                  <a:solidFill>
                    <a:sysClr val="windowText" lastClr="000000"/>
                  </a:solidFill>
                  <a:latin typeface="Calibri" pitchFamily="34" charset="0"/>
                  <a:ea typeface="굴림" pitchFamily="50" charset="-127"/>
                  <a:cs typeface="Calibri" pitchFamily="34" charset="0"/>
                </a:rPr>
                <a:t> </a:t>
              </a:r>
              <a:r>
                <a:rPr lang="en-US" altLang="ko-KR" sz="1600" b="1" dirty="0" err="1">
                  <a:solidFill>
                    <a:sysClr val="windowText" lastClr="000000"/>
                  </a:solidFill>
                  <a:latin typeface="Calibri" pitchFamily="34" charset="0"/>
                  <a:ea typeface="굴림" pitchFamily="50" charset="-127"/>
                  <a:cs typeface="Calibri" pitchFamily="34" charset="0"/>
                </a:rPr>
                <a:t>pegawai</a:t>
              </a:r>
              <a:endParaRPr lang="en-US" altLang="ko-KR" sz="1600" b="1" dirty="0">
                <a:solidFill>
                  <a:sysClr val="windowText" lastClr="000000"/>
                </a:solidFill>
                <a:latin typeface="Calibri" pitchFamily="34" charset="0"/>
                <a:ea typeface="굴림" pitchFamily="50" charset="-127"/>
                <a:cs typeface="Calibri" pitchFamily="34" charset="0"/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1138296" y="1066678"/>
              <a:ext cx="311302" cy="288000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id-ID" dirty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10</a:t>
              </a:r>
              <a:endParaRPr lang="en-US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459820" y="3708161"/>
            <a:ext cx="6315533" cy="481237"/>
            <a:chOff x="1138296" y="908720"/>
            <a:chExt cx="7125360" cy="576064"/>
          </a:xfrm>
        </p:grpSpPr>
        <p:sp>
          <p:nvSpPr>
            <p:cNvPr id="29" name="Chevron 28"/>
            <p:cNvSpPr/>
            <p:nvPr/>
          </p:nvSpPr>
          <p:spPr>
            <a:xfrm>
              <a:off x="1138296" y="908720"/>
              <a:ext cx="7125360" cy="576064"/>
            </a:xfrm>
            <a:prstGeom prst="chevron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619335" indent="-619335" algn="just">
                <a:lnSpc>
                  <a:spcPct val="115000"/>
                </a:lnSpc>
                <a:defRPr/>
              </a:pPr>
              <a:r>
                <a:rPr lang="id-ID" sz="1600" b="1" dirty="0">
                  <a:solidFill>
                    <a:sysClr val="windowText" lastClr="000000"/>
                  </a:solidFill>
                  <a:latin typeface="Calibri" pitchFamily="34" charset="0"/>
                  <a:ea typeface="굴림" pitchFamily="50" charset="-127"/>
                  <a:cs typeface="Calibri" pitchFamily="34" charset="0"/>
                </a:rPr>
                <a:t>Mempunyai sistem keamanan mitra dagang</a:t>
              </a:r>
              <a:endParaRPr lang="en-US" altLang="ko-KR" sz="1600" b="1" dirty="0">
                <a:solidFill>
                  <a:sysClr val="windowText" lastClr="000000"/>
                </a:solidFill>
                <a:latin typeface="Calibri" pitchFamily="34" charset="0"/>
                <a:ea typeface="굴림" pitchFamily="50" charset="-127"/>
                <a:cs typeface="Calibri" pitchFamily="34" charset="0"/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1138296" y="1066678"/>
              <a:ext cx="311302" cy="288000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id-ID" dirty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11</a:t>
              </a:r>
              <a:endParaRPr lang="en-US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 flipH="1">
            <a:off x="1459820" y="4280655"/>
            <a:ext cx="6315533" cy="481237"/>
            <a:chOff x="1138296" y="908720"/>
            <a:chExt cx="7125360" cy="576064"/>
          </a:xfrm>
        </p:grpSpPr>
        <p:sp>
          <p:nvSpPr>
            <p:cNvPr id="32" name="Chevron 31"/>
            <p:cNvSpPr/>
            <p:nvPr/>
          </p:nvSpPr>
          <p:spPr>
            <a:xfrm>
              <a:off x="1138296" y="908720"/>
              <a:ext cx="7125360" cy="576064"/>
            </a:xfrm>
            <a:prstGeom prst="chevron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id-ID" sz="1600" b="1" dirty="0">
                  <a:solidFill>
                    <a:sysClr val="windowText" lastClr="000000"/>
                  </a:solidFill>
                  <a:latin typeface="Calibri" pitchFamily="34" charset="0"/>
                  <a:ea typeface="굴림" pitchFamily="50" charset="-127"/>
                  <a:cs typeface="Calibri" pitchFamily="34" charset="0"/>
                </a:rPr>
                <a:t>Mempunyai sistem manajemen krisis dan pemulihan insiden</a:t>
              </a:r>
              <a:endParaRPr lang="en-US" altLang="ko-KR" sz="1600" b="1" dirty="0">
                <a:solidFill>
                  <a:sysClr val="windowText" lastClr="000000"/>
                </a:solidFill>
                <a:latin typeface="Calibri" pitchFamily="34" charset="0"/>
                <a:ea typeface="굴림" pitchFamily="50" charset="-127"/>
                <a:cs typeface="Calibri" pitchFamily="34" charset="0"/>
              </a:endParaRPr>
            </a:p>
          </p:txBody>
        </p:sp>
        <p:sp>
          <p:nvSpPr>
            <p:cNvPr id="33" name="Oval 32"/>
            <p:cNvSpPr/>
            <p:nvPr/>
          </p:nvSpPr>
          <p:spPr>
            <a:xfrm>
              <a:off x="1138296" y="1066678"/>
              <a:ext cx="311302" cy="288000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id-ID" dirty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12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1459820" y="4887195"/>
            <a:ext cx="6315533" cy="481237"/>
            <a:chOff x="1138296" y="908720"/>
            <a:chExt cx="7125360" cy="576064"/>
          </a:xfrm>
        </p:grpSpPr>
        <p:sp>
          <p:nvSpPr>
            <p:cNvPr id="35" name="Chevron 34"/>
            <p:cNvSpPr/>
            <p:nvPr/>
          </p:nvSpPr>
          <p:spPr>
            <a:xfrm>
              <a:off x="1138296" y="908720"/>
              <a:ext cx="7125360" cy="576064"/>
            </a:xfrm>
            <a:prstGeom prst="chevron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>
                <a:lnSpc>
                  <a:spcPct val="115000"/>
                </a:lnSpc>
                <a:buNone/>
                <a:defRPr/>
              </a:pPr>
              <a:r>
                <a:rPr lang="fi-FI" altLang="ko-KR" sz="1600" b="1" dirty="0">
                  <a:solidFill>
                    <a:sysClr val="windowText" lastClr="000000"/>
                  </a:solidFill>
                  <a:latin typeface="Calibri" pitchFamily="34" charset="0"/>
                  <a:ea typeface="굴림" pitchFamily="50" charset="-127"/>
                  <a:cs typeface="Calibri" pitchFamily="34" charset="0"/>
                </a:rPr>
                <a:t>Mempunyai sistem perencanaan dan pelaksanaan pemantauan, pengukuran, analisis, dan peningkatan sistem</a:t>
              </a:r>
              <a:endParaRPr lang="en-US" altLang="ko-KR" sz="1600" b="1" dirty="0">
                <a:solidFill>
                  <a:sysClr val="windowText" lastClr="000000"/>
                </a:solidFill>
                <a:latin typeface="Calibri" pitchFamily="34" charset="0"/>
                <a:ea typeface="굴림" pitchFamily="50" charset="-127"/>
                <a:cs typeface="Calibri" pitchFamily="34" charset="0"/>
              </a:endParaRPr>
            </a:p>
          </p:txBody>
        </p:sp>
        <p:sp>
          <p:nvSpPr>
            <p:cNvPr id="36" name="Oval 35"/>
            <p:cNvSpPr/>
            <p:nvPr/>
          </p:nvSpPr>
          <p:spPr>
            <a:xfrm>
              <a:off x="1138296" y="1066678"/>
              <a:ext cx="311302" cy="288000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id-ID" dirty="0">
                  <a:solidFill>
                    <a:sysClr val="windowText" lastClr="000000"/>
                  </a:solidFill>
                  <a:latin typeface="Arial" pitchFamily="34" charset="0"/>
                  <a:cs typeface="Arial" pitchFamily="34" charset="0"/>
                </a:rPr>
                <a:t>13</a:t>
              </a:r>
              <a:endParaRPr lang="en-US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7" name="Title 1"/>
          <p:cNvSpPr txBox="1">
            <a:spLocks/>
          </p:cNvSpPr>
          <p:nvPr/>
        </p:nvSpPr>
        <p:spPr>
          <a:xfrm>
            <a:off x="1286675" y="461676"/>
            <a:ext cx="6714138" cy="686736"/>
          </a:xfrm>
          <a:prstGeom prst="rect">
            <a:avLst/>
          </a:prstGeom>
        </p:spPr>
        <p:txBody>
          <a:bodyPr vert="horz" lIns="76388" tIns="38194" rIns="76388" bIns="38194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67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</a:rPr>
              <a:t>KRITERIA AEO … (2)</a:t>
            </a:r>
            <a:endParaRPr lang="en-US" sz="2673" b="1" dirty="0">
              <a:latin typeface="Candara" panose="020E0502030303020204" pitchFamily="34" charset="0"/>
            </a:endParaRP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659" y="325296"/>
            <a:ext cx="1097868" cy="818730"/>
          </a:xfrm>
          <a:prstGeom prst="rect">
            <a:avLst/>
          </a:prstGeom>
          <a:effectLst>
            <a:softEdge rad="12700"/>
          </a:effectLst>
        </p:spPr>
      </p:pic>
    </p:spTree>
    <p:extLst>
      <p:ext uri="{BB962C8B-B14F-4D97-AF65-F5344CB8AC3E}">
        <p14:creationId xmlns:p14="http://schemas.microsoft.com/office/powerpoint/2010/main" val="348744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 rot="20852580">
            <a:off x="420113" y="1457680"/>
            <a:ext cx="3349124" cy="2863005"/>
            <a:chOff x="494947" y="417279"/>
            <a:chExt cx="2417578" cy="2421351"/>
          </a:xfrm>
        </p:grpSpPr>
        <p:sp>
          <p:nvSpPr>
            <p:cNvPr id="12" name="Freeform 11"/>
            <p:cNvSpPr/>
            <p:nvPr/>
          </p:nvSpPr>
          <p:spPr>
            <a:xfrm>
              <a:off x="494947" y="494484"/>
              <a:ext cx="2328384" cy="2344146"/>
            </a:xfrm>
            <a:custGeom>
              <a:avLst/>
              <a:gdLst>
                <a:gd name="connsiteX0" fmla="*/ 94077 w 2328384"/>
                <a:gd name="connsiteY0" fmla="*/ 0 h 2344146"/>
                <a:gd name="connsiteX1" fmla="*/ 0 w 2328384"/>
                <a:gd name="connsiteY1" fmla="*/ 2344146 h 2344146"/>
                <a:gd name="connsiteX2" fmla="*/ 2328384 w 2328384"/>
                <a:gd name="connsiteY2" fmla="*/ 2250067 h 2344146"/>
                <a:gd name="connsiteX3" fmla="*/ 94077 w 2328384"/>
                <a:gd name="connsiteY3" fmla="*/ 0 h 2344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8384" h="2344146">
                  <a:moveTo>
                    <a:pt x="94077" y="0"/>
                  </a:moveTo>
                  <a:lnTo>
                    <a:pt x="0" y="2344146"/>
                  </a:lnTo>
                  <a:lnTo>
                    <a:pt x="2328384" y="2250067"/>
                  </a:lnTo>
                  <a:lnTo>
                    <a:pt x="94077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100">
                    <a:alpha val="31000"/>
                  </a:srgbClr>
                </a:gs>
                <a:gs pos="49000">
                  <a:srgbClr val="FEFFFF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7000"/>
                </a:srgbClr>
              </a:outerShdw>
              <a:softEdge rad="3810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590935" y="417279"/>
              <a:ext cx="2321590" cy="2321590"/>
            </a:xfrm>
            <a:prstGeom prst="rect">
              <a:avLst/>
            </a:prstGeom>
            <a:gradFill flip="none" rotWithShape="1">
              <a:gsLst>
                <a:gs pos="0">
                  <a:srgbClr val="FAE148"/>
                </a:gs>
                <a:gs pos="100000">
                  <a:srgbClr val="FFEB63"/>
                </a:gs>
              </a:gsLst>
              <a:lin ang="16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4" name="Picture 13" descr="stickie-shadow.png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14456" y="436040"/>
              <a:ext cx="404704" cy="461174"/>
            </a:xfrm>
            <a:prstGeom prst="rect">
              <a:avLst/>
            </a:prstGeom>
          </p:spPr>
        </p:pic>
        <p:pic>
          <p:nvPicPr>
            <p:cNvPr id="15" name="Picture 14" descr="stickie-shadow.png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16200000">
              <a:off x="637932" y="2282410"/>
              <a:ext cx="404704" cy="461174"/>
            </a:xfrm>
            <a:prstGeom prst="rect">
              <a:avLst/>
            </a:prstGeom>
          </p:spPr>
        </p:pic>
      </p:grpSp>
      <p:grpSp>
        <p:nvGrpSpPr>
          <p:cNvPr id="16" name="Group 15"/>
          <p:cNvGrpSpPr/>
          <p:nvPr/>
        </p:nvGrpSpPr>
        <p:grpSpPr>
          <a:xfrm>
            <a:off x="3555873" y="1184394"/>
            <a:ext cx="5143157" cy="3140913"/>
            <a:chOff x="494947" y="417279"/>
            <a:chExt cx="2417578" cy="2421351"/>
          </a:xfrm>
        </p:grpSpPr>
        <p:sp>
          <p:nvSpPr>
            <p:cNvPr id="17" name="Freeform 16"/>
            <p:cNvSpPr/>
            <p:nvPr/>
          </p:nvSpPr>
          <p:spPr>
            <a:xfrm>
              <a:off x="494947" y="494484"/>
              <a:ext cx="2328384" cy="2344146"/>
            </a:xfrm>
            <a:custGeom>
              <a:avLst/>
              <a:gdLst>
                <a:gd name="connsiteX0" fmla="*/ 94077 w 2328384"/>
                <a:gd name="connsiteY0" fmla="*/ 0 h 2344146"/>
                <a:gd name="connsiteX1" fmla="*/ 0 w 2328384"/>
                <a:gd name="connsiteY1" fmla="*/ 2344146 h 2344146"/>
                <a:gd name="connsiteX2" fmla="*/ 2328384 w 2328384"/>
                <a:gd name="connsiteY2" fmla="*/ 2250067 h 2344146"/>
                <a:gd name="connsiteX3" fmla="*/ 94077 w 2328384"/>
                <a:gd name="connsiteY3" fmla="*/ 0 h 2344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28384" h="2344146">
                  <a:moveTo>
                    <a:pt x="94077" y="0"/>
                  </a:moveTo>
                  <a:lnTo>
                    <a:pt x="0" y="2344146"/>
                  </a:lnTo>
                  <a:lnTo>
                    <a:pt x="2328384" y="2250067"/>
                  </a:lnTo>
                  <a:lnTo>
                    <a:pt x="94077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0100">
                    <a:alpha val="31000"/>
                  </a:srgbClr>
                </a:gs>
                <a:gs pos="49000">
                  <a:srgbClr val="FEFFFF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  <a:effectLst>
              <a:outerShdw blurRad="50800" dist="12700" dir="5400000" rotWithShape="0">
                <a:srgbClr val="000000">
                  <a:alpha val="37000"/>
                </a:srgbClr>
              </a:outerShdw>
              <a:softEdge rad="38100"/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590935" y="417279"/>
              <a:ext cx="2321590" cy="2321590"/>
            </a:xfrm>
            <a:prstGeom prst="rect">
              <a:avLst/>
            </a:prstGeom>
            <a:gradFill flip="none" rotWithShape="1">
              <a:gsLst>
                <a:gs pos="0">
                  <a:srgbClr val="FAE148"/>
                </a:gs>
                <a:gs pos="100000">
                  <a:srgbClr val="FFEB63"/>
                </a:gs>
              </a:gsLst>
              <a:lin ang="16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9" name="Picture 18" descr="stickie-shadow.png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14456" y="436040"/>
              <a:ext cx="404704" cy="461174"/>
            </a:xfrm>
            <a:prstGeom prst="rect">
              <a:avLst/>
            </a:prstGeom>
          </p:spPr>
        </p:pic>
        <p:pic>
          <p:nvPicPr>
            <p:cNvPr id="20" name="Picture 19" descr="stickie-shadow.png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16200000">
              <a:off x="637932" y="2282410"/>
              <a:ext cx="404704" cy="46117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05101" y="4442736"/>
            <a:ext cx="3775629" cy="554401"/>
          </a:xfrm>
        </p:spPr>
        <p:txBody>
          <a:bodyPr>
            <a:normAutofit fontScale="90000"/>
          </a:bodyPr>
          <a:lstStyle/>
          <a:p>
            <a:r>
              <a:rPr lang="id-ID" sz="6600" b="1" baseline="-25000" dirty="0" smtClean="0">
                <a:latin typeface="Calibri" pitchFamily="34" charset="0"/>
              </a:rPr>
              <a:t>EMAIL US</a:t>
            </a:r>
            <a:endParaRPr lang="en-US" sz="6600" b="1" baseline="-25000" dirty="0">
              <a:latin typeface="Calibri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 rot="20589503">
            <a:off x="651132" y="1860800"/>
            <a:ext cx="2896776" cy="1795907"/>
          </a:xfrm>
        </p:spPr>
        <p:txBody>
          <a:bodyPr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sz="12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K</a:t>
            </a:r>
            <a:r>
              <a:rPr lang="id-ID" sz="12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unjungi kami di:</a:t>
            </a:r>
          </a:p>
          <a:p>
            <a:pPr algn="ctr">
              <a:spcBef>
                <a:spcPts val="0"/>
              </a:spcBef>
            </a:pPr>
            <a:endParaRPr lang="id-ID" sz="1000" b="1" dirty="0" smtClean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algn="ctr">
              <a:spcBef>
                <a:spcPts val="0"/>
              </a:spcBef>
            </a:pPr>
            <a:r>
              <a:rPr lang="id-ID" sz="2400" b="1" dirty="0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AEO </a:t>
            </a:r>
            <a:r>
              <a:rPr lang="id-ID" sz="2400" b="1" dirty="0" err="1" smtClean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rPr>
              <a:t>CENTer</a:t>
            </a:r>
            <a:endParaRPr lang="id-ID" sz="2400" b="1" dirty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algn="ctr">
              <a:spcBef>
                <a:spcPts val="0"/>
              </a:spcBef>
            </a:pPr>
            <a:endParaRPr lang="en-US" sz="1400" b="1" dirty="0" smtClean="0">
              <a:solidFill>
                <a:schemeClr val="tx1"/>
              </a:solidFill>
              <a:latin typeface="Georgia" charset="0"/>
              <a:ea typeface="Georgia" charset="0"/>
              <a:cs typeface="Georgia" charset="0"/>
            </a:endParaRPr>
          </a:p>
          <a:p>
            <a:pPr algn="ctr">
              <a:spcBef>
                <a:spcPts val="0"/>
              </a:spcBef>
            </a:pPr>
            <a:r>
              <a:rPr lang="en-US" sz="1400" b="1" dirty="0" err="1" smtClean="0">
                <a:solidFill>
                  <a:schemeClr val="tx1"/>
                </a:solidFill>
                <a:ea typeface="Georgia" charset="0"/>
                <a:cs typeface="Georgia" charset="0"/>
              </a:rPr>
              <a:t>Lantai</a:t>
            </a:r>
            <a:r>
              <a:rPr lang="en-US" sz="1400" b="1" dirty="0" smtClean="0">
                <a:solidFill>
                  <a:schemeClr val="tx1"/>
                </a:solidFill>
                <a:ea typeface="Georgia" charset="0"/>
                <a:cs typeface="Georgia" charset="0"/>
              </a:rPr>
              <a:t> 1 </a:t>
            </a:r>
            <a:r>
              <a:rPr lang="en-US" sz="1400" b="1" dirty="0" err="1" smtClean="0">
                <a:solidFill>
                  <a:schemeClr val="tx1"/>
                </a:solidFill>
                <a:ea typeface="Georgia" charset="0"/>
                <a:cs typeface="Georgia" charset="0"/>
              </a:rPr>
              <a:t>ged</a:t>
            </a:r>
            <a:r>
              <a:rPr lang="en-US" sz="1400" b="1" dirty="0" smtClean="0">
                <a:solidFill>
                  <a:schemeClr val="tx1"/>
                </a:solidFill>
                <a:ea typeface="Georgia" charset="0"/>
                <a:cs typeface="Georgia" charset="0"/>
              </a:rPr>
              <a:t>. Kalimantan </a:t>
            </a:r>
          </a:p>
          <a:p>
            <a:pPr algn="ctr">
              <a:spcBef>
                <a:spcPts val="0"/>
              </a:spcBef>
            </a:pPr>
            <a:r>
              <a:rPr lang="en-US" sz="1800" b="1" dirty="0" smtClean="0">
                <a:solidFill>
                  <a:schemeClr val="tx1"/>
                </a:solidFill>
                <a:ea typeface="Georgia" charset="0"/>
                <a:cs typeface="Georgia" charset="0"/>
              </a:rPr>
              <a:t>Kantor </a:t>
            </a:r>
            <a:r>
              <a:rPr lang="en-US" sz="1800" b="1" dirty="0" err="1" smtClean="0">
                <a:solidFill>
                  <a:schemeClr val="tx1"/>
                </a:solidFill>
                <a:ea typeface="Georgia" charset="0"/>
                <a:cs typeface="Georgia" charset="0"/>
              </a:rPr>
              <a:t>pusat</a:t>
            </a:r>
            <a:r>
              <a:rPr lang="en-US" sz="1800" b="1" dirty="0" smtClean="0">
                <a:solidFill>
                  <a:schemeClr val="tx1"/>
                </a:solidFill>
                <a:ea typeface="Georgia" charset="0"/>
                <a:cs typeface="Georgia" charset="0"/>
              </a:rPr>
              <a:t> </a:t>
            </a:r>
            <a:r>
              <a:rPr lang="en-US" sz="1800" b="1" dirty="0" err="1" smtClean="0">
                <a:solidFill>
                  <a:schemeClr val="tx1"/>
                </a:solidFill>
                <a:ea typeface="Georgia" charset="0"/>
                <a:cs typeface="Georgia" charset="0"/>
              </a:rPr>
              <a:t>djbc</a:t>
            </a:r>
            <a:endParaRPr lang="en-US" sz="1800" b="1" dirty="0" smtClean="0">
              <a:solidFill>
                <a:schemeClr val="tx1"/>
              </a:solidFill>
              <a:ea typeface="Georgia" charset="0"/>
              <a:cs typeface="Georgia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5848934"/>
            <a:ext cx="91439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b="1" dirty="0" smtClean="0">
                <a:solidFill>
                  <a:schemeClr val="bg1"/>
                </a:solidFill>
                <a:latin typeface="Candara" panose="020E0502030303020204" pitchFamily="34" charset="0"/>
              </a:rPr>
              <a:t>DIREKTORAT JENDERAL BEA DAN CUKAI</a:t>
            </a:r>
            <a:endParaRPr lang="id-ID" b="1" dirty="0">
              <a:solidFill>
                <a:schemeClr val="bg1"/>
              </a:solidFill>
              <a:latin typeface="Candara" panose="020E0502030303020204" pitchFamily="34" charset="0"/>
            </a:endParaRPr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3705101" y="880753"/>
            <a:ext cx="4925230" cy="33864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Clr>
                <a:schemeClr val="accent1"/>
              </a:buClr>
              <a:buSzPct val="95000"/>
              <a:buFont typeface="Rage Italic" pitchFamily="66" charset="0"/>
              <a:buNone/>
              <a:defRPr sz="1800" kern="1200">
                <a:solidFill>
                  <a:srgbClr val="000100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Clr>
                <a:schemeClr val="accent1"/>
              </a:buClr>
              <a:buSzPct val="95000"/>
              <a:buFont typeface="Rage Italic" pitchFamily="66" charset="0"/>
              <a:buNone/>
              <a:defRPr sz="2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Clr>
                <a:schemeClr val="accent1"/>
              </a:buClr>
              <a:buSzPct val="95000"/>
              <a:buFont typeface="Rage Italic" pitchFamily="66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Clr>
                <a:schemeClr val="accent1"/>
              </a:buClr>
              <a:buSzPct val="95000"/>
              <a:buFont typeface="Rage Italic" pitchFamily="66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Clr>
                <a:schemeClr val="accent1"/>
              </a:buClr>
              <a:buSzPct val="95000"/>
              <a:buFont typeface="Rage Italic" pitchFamily="66" charset="0"/>
              <a:buNone/>
              <a:defRPr sz="14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Clr>
                <a:schemeClr val="accent1"/>
              </a:buClr>
              <a:buSzPct val="95000"/>
              <a:buFont typeface="Rage Italic" pitchFamily="66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Clr>
                <a:schemeClr val="accent1"/>
              </a:buClr>
              <a:buSzPct val="95000"/>
              <a:buFont typeface="Rage Italic" pitchFamily="66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Clr>
                <a:schemeClr val="accent1"/>
              </a:buClr>
              <a:buSzPct val="95000"/>
              <a:buFont typeface="Rage Italic" pitchFamily="66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Clr>
                <a:schemeClr val="accent1"/>
              </a:buClr>
              <a:buSzPct val="95000"/>
              <a:buFont typeface="Rage Italic" pitchFamily="66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endParaRPr lang="id-ID" sz="2200" b="1" dirty="0" smtClean="0">
              <a:latin typeface="Calibri" pitchFamily="34" charset="0"/>
            </a:endParaRPr>
          </a:p>
          <a:p>
            <a:pPr>
              <a:spcAft>
                <a:spcPts val="1200"/>
              </a:spcAft>
            </a:pPr>
            <a:r>
              <a:rPr lang="id-ID" sz="2200" b="1" dirty="0" smtClean="0">
                <a:latin typeface="Calibri" pitchFamily="34" charset="0"/>
              </a:rPr>
              <a:t>CONTACT US</a:t>
            </a:r>
            <a:endParaRPr lang="id-ID" sz="2800" b="1" dirty="0" smtClean="0">
              <a:latin typeface="Calibri" pitchFamily="34" charset="0"/>
            </a:endParaRPr>
          </a:p>
          <a:p>
            <a:pPr>
              <a:spcBef>
                <a:spcPts val="0"/>
              </a:spcBef>
            </a:pPr>
            <a:endParaRPr lang="id-ID" sz="2200" b="1" dirty="0" smtClean="0">
              <a:latin typeface="Calibri" pitchFamily="34" charset="0"/>
            </a:endParaRPr>
          </a:p>
        </p:txBody>
      </p:sp>
      <p:pic>
        <p:nvPicPr>
          <p:cNvPr id="22" name="Picture 2" descr="http://3.bp.blogspot.com/-qx8c_MWElG8/UCdbczmVRyI/AAAAAAAABs4/d45Vpa8cpo8/s1600/selamat-datang-bali1.jp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9023" r="100000"/>
                    </a14:imgEffect>
                    <a14:imgEffect>
                      <a14:artisticTexturiz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882" y="3901857"/>
            <a:ext cx="1779358" cy="2675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3760078" y="5089237"/>
            <a:ext cx="463787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tabLst>
                <a:tab pos="2227263" algn="l"/>
              </a:tabLst>
            </a:pPr>
            <a:r>
              <a:rPr lang="id-ID" sz="2400" b="1" dirty="0">
                <a:latin typeface="Calibri" pitchFamily="34" charset="0"/>
              </a:rPr>
              <a:t>aeoindonesia@customs.go.id</a:t>
            </a:r>
          </a:p>
          <a:p>
            <a:pPr>
              <a:tabLst>
                <a:tab pos="2227263" algn="l"/>
              </a:tabLst>
            </a:pPr>
            <a:r>
              <a:rPr lang="en-US" sz="2400" b="1" dirty="0" smtClean="0">
                <a:latin typeface="Calibri" pitchFamily="34" charset="0"/>
              </a:rPr>
              <a:t>aeoindonesia.customs@gmail.com</a:t>
            </a:r>
            <a:endParaRPr lang="id-ID" sz="2400" b="1" dirty="0">
              <a:latin typeface="Calibri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307352" y="2078992"/>
            <a:ext cx="4256904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1793875" algn="l"/>
              </a:tabLst>
            </a:pPr>
            <a:r>
              <a:rPr lang="en-US" sz="2000" b="1" dirty="0" smtClean="0"/>
              <a:t>Martha Octavia      08161189127</a:t>
            </a:r>
            <a:endParaRPr lang="en-US" sz="2000" b="1" dirty="0"/>
          </a:p>
          <a:p>
            <a:pPr>
              <a:tabLst>
                <a:tab pos="1793875" algn="l"/>
              </a:tabLst>
            </a:pPr>
            <a:r>
              <a:rPr lang="en-US" sz="2000" b="1" dirty="0" err="1" smtClean="0"/>
              <a:t>Batara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Bonatua</a:t>
            </a:r>
            <a:r>
              <a:rPr lang="en-US" sz="2000" b="1" dirty="0" smtClean="0"/>
              <a:t> Y.  </a:t>
            </a:r>
            <a:r>
              <a:rPr lang="en-US" sz="2000" b="1" dirty="0" smtClean="0">
                <a:latin typeface="Calibri" pitchFamily="34" charset="0"/>
              </a:rPr>
              <a:t>081282228281</a:t>
            </a:r>
          </a:p>
          <a:p>
            <a:pPr>
              <a:tabLst>
                <a:tab pos="1793875" algn="l"/>
              </a:tabLst>
            </a:pPr>
            <a:r>
              <a:rPr lang="en-US" sz="2000" b="1" dirty="0" err="1" smtClean="0"/>
              <a:t>Adi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Bowo</a:t>
            </a:r>
            <a:r>
              <a:rPr lang="en-US" sz="2000" b="1" dirty="0" smtClean="0"/>
              <a:t> W.</a:t>
            </a:r>
            <a:r>
              <a:rPr lang="en-US" sz="2000" b="1" dirty="0" smtClean="0">
                <a:latin typeface="Calibri" pitchFamily="34" charset="0"/>
              </a:rPr>
              <a:t> </a:t>
            </a:r>
            <a:r>
              <a:rPr lang="en-US" sz="2000" b="1" dirty="0">
                <a:latin typeface="Calibri" pitchFamily="34" charset="0"/>
              </a:rPr>
              <a:t>	</a:t>
            </a:r>
            <a:r>
              <a:rPr lang="en-US" sz="2000" b="1" dirty="0" smtClean="0">
                <a:latin typeface="Calibri" pitchFamily="34" charset="0"/>
              </a:rPr>
              <a:t>   081382709682</a:t>
            </a:r>
            <a:endParaRPr lang="en-US" sz="2000" b="1" dirty="0">
              <a:latin typeface="Calibri" pitchFamily="34" charset="0"/>
            </a:endParaRPr>
          </a:p>
          <a:p>
            <a:pPr>
              <a:tabLst>
                <a:tab pos="1793875" algn="l"/>
              </a:tabLst>
            </a:pPr>
            <a:r>
              <a:rPr lang="en-US" sz="2000" b="1" dirty="0" err="1" smtClean="0"/>
              <a:t>Rini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Mulianingsih</a:t>
            </a:r>
            <a:r>
              <a:rPr lang="en-US" sz="2000" b="1" dirty="0" smtClean="0"/>
              <a:t>   081808040092</a:t>
            </a:r>
            <a:endParaRPr lang="en-US" sz="2000" b="1" dirty="0">
              <a:latin typeface="Calibri" pitchFamily="34" charset="0"/>
            </a:endParaRPr>
          </a:p>
          <a:p>
            <a:pPr>
              <a:tabLst>
                <a:tab pos="1793875" algn="l"/>
              </a:tabLst>
            </a:pPr>
            <a:r>
              <a:rPr lang="en-US" sz="2000" b="1" dirty="0" err="1" smtClean="0"/>
              <a:t>Rendy</a:t>
            </a:r>
            <a:r>
              <a:rPr lang="en-US" sz="2000" b="1" dirty="0" smtClean="0"/>
              <a:t> Tommy</a:t>
            </a:r>
            <a:r>
              <a:rPr lang="en-US" sz="2000" b="1" dirty="0" smtClean="0">
                <a:latin typeface="Calibri" pitchFamily="34" charset="0"/>
              </a:rPr>
              <a:t> </a:t>
            </a:r>
            <a:r>
              <a:rPr lang="en-US" sz="2000" b="1" dirty="0">
                <a:latin typeface="Calibri" pitchFamily="34" charset="0"/>
              </a:rPr>
              <a:t>	</a:t>
            </a:r>
            <a:r>
              <a:rPr lang="en-US" sz="2000" b="1" dirty="0" smtClean="0">
                <a:latin typeface="Calibri" pitchFamily="34" charset="0"/>
              </a:rPr>
              <a:t>   081805060134</a:t>
            </a:r>
            <a:endParaRPr lang="en-US" sz="2000" b="1" dirty="0">
              <a:latin typeface="Calibri" pitchFamily="34" charset="0"/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139066" y="228600"/>
            <a:ext cx="8919684" cy="6621802"/>
            <a:chOff x="-52332" y="115888"/>
            <a:chExt cx="9199507" cy="7189375"/>
          </a:xfrm>
        </p:grpSpPr>
        <p:pic>
          <p:nvPicPr>
            <p:cNvPr id="25" name="Picture 6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-52332" y="6809963"/>
              <a:ext cx="9144000" cy="495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6" name="Slide Number Placeholder 5"/>
            <p:cNvSpPr txBox="1">
              <a:spLocks/>
            </p:cNvSpPr>
            <p:nvPr/>
          </p:nvSpPr>
          <p:spPr>
            <a:xfrm>
              <a:off x="214313" y="6381750"/>
              <a:ext cx="2133600" cy="365125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EB3DBFA5-2FB4-48DD-BE63-D917D46CC28C}" type="slidenum">
                <a:rPr lang="en-US" sz="1002"/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21</a:t>
              </a:fld>
              <a:endParaRPr lang="en-US" sz="1002" dirty="0"/>
            </a:p>
          </p:txBody>
        </p:sp>
        <p:pic>
          <p:nvPicPr>
            <p:cNvPr id="27" name="Picture 11"/>
            <p:cNvPicPr>
              <a:picLocks noChangeAspect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175" y="6300788"/>
              <a:ext cx="9144000" cy="76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19063" y="115888"/>
              <a:ext cx="871537" cy="798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" name="Picture 12"/>
            <p:cNvPicPr preferRelativeResize="0">
              <a:picLocks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223963" y="838200"/>
              <a:ext cx="7920037" cy="36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30" name="Straight Connector 29"/>
            <p:cNvCxnSpPr/>
            <p:nvPr/>
          </p:nvCxnSpPr>
          <p:spPr>
            <a:xfrm rot="5400000">
              <a:off x="709612" y="509588"/>
              <a:ext cx="714375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Title 1"/>
          <p:cNvSpPr txBox="1">
            <a:spLocks/>
          </p:cNvSpPr>
          <p:nvPr/>
        </p:nvSpPr>
        <p:spPr>
          <a:xfrm>
            <a:off x="1420449" y="223967"/>
            <a:ext cx="6714138" cy="686736"/>
          </a:xfrm>
          <a:prstGeom prst="rect">
            <a:avLst/>
          </a:prstGeom>
        </p:spPr>
        <p:txBody>
          <a:bodyPr vert="horz" lIns="76388" tIns="38194" rIns="76388" bIns="38194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673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</a:rPr>
              <a:t>INFORMASI LEBIH LANJUT</a:t>
            </a:r>
            <a:endParaRPr lang="en-US" sz="2673" b="1" dirty="0">
              <a:latin typeface="Candara" panose="020E0502030303020204" pitchFamily="34" charset="0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0049" y="113364"/>
            <a:ext cx="1097868" cy="818730"/>
          </a:xfrm>
          <a:prstGeom prst="rect">
            <a:avLst/>
          </a:prstGeom>
          <a:effectLst>
            <a:softEdge rad="12700"/>
          </a:effectLst>
        </p:spPr>
      </p:pic>
    </p:spTree>
    <p:extLst>
      <p:ext uri="{BB962C8B-B14F-4D97-AF65-F5344CB8AC3E}">
        <p14:creationId xmlns:p14="http://schemas.microsoft.com/office/powerpoint/2010/main" val="1890058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10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75152" y="377445"/>
            <a:ext cx="8872022" cy="6223009"/>
            <a:chOff x="-3175" y="115888"/>
            <a:chExt cx="9150350" cy="6756400"/>
          </a:xfrm>
        </p:grpSpPr>
        <p:pic>
          <p:nvPicPr>
            <p:cNvPr id="9" name="Picture 6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-3175" y="6376988"/>
              <a:ext cx="9144000" cy="495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Slide Number Placeholder 5"/>
            <p:cNvSpPr txBox="1">
              <a:spLocks/>
            </p:cNvSpPr>
            <p:nvPr/>
          </p:nvSpPr>
          <p:spPr>
            <a:xfrm>
              <a:off x="214313" y="6381750"/>
              <a:ext cx="2133600" cy="365125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EB3DBFA5-2FB4-48DD-BE63-D917D46CC28C}" type="slidenum">
                <a:rPr lang="en-US" sz="1002"/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22</a:t>
              </a:fld>
              <a:endParaRPr lang="en-US" sz="1002" dirty="0"/>
            </a:p>
          </p:txBody>
        </p:sp>
        <p:pic>
          <p:nvPicPr>
            <p:cNvPr id="14" name="Picture 11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175" y="6300788"/>
              <a:ext cx="9144000" cy="76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19063" y="115888"/>
              <a:ext cx="871537" cy="798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12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223963" y="838200"/>
              <a:ext cx="7920037" cy="36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8" name="Straight Connector 17"/>
            <p:cNvCxnSpPr/>
            <p:nvPr/>
          </p:nvCxnSpPr>
          <p:spPr>
            <a:xfrm rot="5400000">
              <a:off x="709612" y="509588"/>
              <a:ext cx="714375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"/>
          <p:cNvSpPr txBox="1">
            <a:spLocks/>
          </p:cNvSpPr>
          <p:nvPr/>
        </p:nvSpPr>
        <p:spPr>
          <a:xfrm>
            <a:off x="2639246" y="1203280"/>
            <a:ext cx="4137677" cy="857222"/>
          </a:xfrm>
          <a:prstGeom prst="rect">
            <a:avLst/>
          </a:prstGeom>
        </p:spPr>
        <p:txBody>
          <a:bodyPr vert="horz" lIns="76388" tIns="38194" rIns="76388" bIns="38194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d-ID" sz="3676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RIMA KASIH</a:t>
            </a:r>
          </a:p>
        </p:txBody>
      </p:sp>
      <p:pic>
        <p:nvPicPr>
          <p:cNvPr id="11" name="Picture 2" descr="http://3.bp.blogspot.com/-qx8c_MWElG8/UCdbczmVRyI/AAAAAAAABs4/d45Vpa8cpo8/s1600/selamat-datang-bali1.jpg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100000" l="9023" r="100000"/>
                    </a14:imgEffect>
                    <a14:imgEffect>
                      <a14:artisticTexturiz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8908" y="1925135"/>
            <a:ext cx="2646803" cy="3980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4800" y="177170"/>
            <a:ext cx="1097868" cy="818730"/>
          </a:xfrm>
          <a:prstGeom prst="rect">
            <a:avLst/>
          </a:prstGeom>
          <a:effectLst>
            <a:softEdge rad="12700"/>
          </a:effectLst>
        </p:spPr>
      </p:pic>
    </p:spTree>
    <p:extLst>
      <p:ext uri="{BB962C8B-B14F-4D97-AF65-F5344CB8AC3E}">
        <p14:creationId xmlns:p14="http://schemas.microsoft.com/office/powerpoint/2010/main" val="568989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75152" y="361115"/>
            <a:ext cx="8872022" cy="6239340"/>
            <a:chOff x="-3175" y="98157"/>
            <a:chExt cx="9150350" cy="6774131"/>
          </a:xfrm>
        </p:grpSpPr>
        <p:pic>
          <p:nvPicPr>
            <p:cNvPr id="9" name="Picture 6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-3175" y="6376988"/>
              <a:ext cx="9144000" cy="495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Slide Number Placeholder 5"/>
            <p:cNvSpPr txBox="1">
              <a:spLocks/>
            </p:cNvSpPr>
            <p:nvPr/>
          </p:nvSpPr>
          <p:spPr>
            <a:xfrm>
              <a:off x="214313" y="6381750"/>
              <a:ext cx="2133600" cy="365125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EB3DBFA5-2FB4-48DD-BE63-D917D46CC28C}" type="slidenum">
                <a:rPr lang="en-US" sz="1002"/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3</a:t>
              </a:fld>
              <a:endParaRPr lang="en-US" sz="1002" dirty="0"/>
            </a:p>
          </p:txBody>
        </p:sp>
        <p:pic>
          <p:nvPicPr>
            <p:cNvPr id="14" name="Picture 11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175" y="6300788"/>
              <a:ext cx="9144000" cy="76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19063" y="98157"/>
              <a:ext cx="871537" cy="798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12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223963" y="838200"/>
              <a:ext cx="7920037" cy="36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8" name="Straight Connector 17"/>
            <p:cNvCxnSpPr/>
            <p:nvPr/>
          </p:nvCxnSpPr>
          <p:spPr>
            <a:xfrm rot="5400000">
              <a:off x="709612" y="509588"/>
              <a:ext cx="714375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itle 1"/>
          <p:cNvSpPr txBox="1">
            <a:spLocks/>
          </p:cNvSpPr>
          <p:nvPr/>
        </p:nvSpPr>
        <p:spPr>
          <a:xfrm>
            <a:off x="5162921" y="1166631"/>
            <a:ext cx="3199274" cy="408480"/>
          </a:xfrm>
          <a:prstGeom prst="rect">
            <a:avLst/>
          </a:prstGeom>
        </p:spPr>
        <p:txBody>
          <a:bodyPr vert="horz" lIns="76388" tIns="38194" rIns="76388" bIns="38194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81945" indent="-381945" algn="l">
              <a:buFont typeface="+mj-lt"/>
              <a:buAutoNum type="arabicPeriod"/>
            </a:pPr>
            <a:r>
              <a:rPr lang="en-US" sz="1671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ＭＳ Ｐゴシック" pitchFamily="34" charset="-128"/>
                <a:cs typeface="Arabic Typesetting" pitchFamily="66" charset="-78"/>
              </a:rPr>
              <a:t>INTERNATIONAL TRADE RISK</a:t>
            </a:r>
            <a:endParaRPr lang="id-ID" sz="1671" b="1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ea typeface="ＭＳ Ｐゴシック" pitchFamily="34" charset="-128"/>
              <a:cs typeface="Arabic Typesetting" pitchFamily="66" charset="-78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091575" y="4573720"/>
            <a:ext cx="1414170" cy="795217"/>
            <a:chOff x="4668117" y="5722111"/>
            <a:chExt cx="1692830" cy="981381"/>
          </a:xfrm>
        </p:grpSpPr>
        <p:sp>
          <p:nvSpPr>
            <p:cNvPr id="25" name="TextBox 24"/>
            <p:cNvSpPr txBox="1"/>
            <p:nvPr/>
          </p:nvSpPr>
          <p:spPr>
            <a:xfrm>
              <a:off x="4668117" y="5722111"/>
              <a:ext cx="1692830" cy="33614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7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cs typeface="Arial" pitchFamily="34" charset="0"/>
                </a:rPr>
                <a:t>Terbatasnya   SDM </a:t>
              </a:r>
              <a:r>
                <a:rPr lang="id-ID" sz="117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  <a:cs typeface="Arial" pitchFamily="34" charset="0"/>
                </a:rPr>
                <a:t> </a:t>
              </a:r>
            </a:p>
          </p:txBody>
        </p:sp>
        <p:pic>
          <p:nvPicPr>
            <p:cNvPr id="26" name="Picture 2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76093" y="6012671"/>
              <a:ext cx="504825" cy="5953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3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36355" y="6108179"/>
              <a:ext cx="439738" cy="595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8" name="TextBox 5"/>
          <p:cNvSpPr txBox="1">
            <a:spLocks noChangeArrowheads="1"/>
          </p:cNvSpPr>
          <p:nvPr/>
        </p:nvSpPr>
        <p:spPr bwMode="auto">
          <a:xfrm>
            <a:off x="874636" y="1231362"/>
            <a:ext cx="3578667" cy="606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381945" indent="-381945" eaLnBrk="1" hangingPunct="1">
              <a:buFont typeface="+mj-lt"/>
              <a:buAutoNum type="arabicPeriod" startAt="2"/>
            </a:pPr>
            <a:r>
              <a:rPr lang="en-AU" sz="1671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OLUME PERDAGANGAN INTERNATIONAL MENINGKAT</a:t>
            </a:r>
            <a:endParaRPr lang="id-ID" sz="1671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5534807" y="1703765"/>
            <a:ext cx="2241262" cy="2173155"/>
            <a:chOff x="7440524" y="1902916"/>
            <a:chExt cx="2682900" cy="2892014"/>
          </a:xfrm>
        </p:grpSpPr>
        <p:sp>
          <p:nvSpPr>
            <p:cNvPr id="31" name="Left Brace 30"/>
            <p:cNvSpPr/>
            <p:nvPr/>
          </p:nvSpPr>
          <p:spPr>
            <a:xfrm>
              <a:off x="7440524" y="1903954"/>
              <a:ext cx="480654" cy="2884789"/>
            </a:xfrm>
            <a:prstGeom prst="leftBrac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id-ID">
                <a:solidFill>
                  <a:prstClr val="black"/>
                </a:solidFill>
              </a:endParaRPr>
            </a:p>
          </p:txBody>
        </p:sp>
        <p:pic>
          <p:nvPicPr>
            <p:cNvPr id="34" name="Picture 24" descr="http://4.bp.blogspot.com/-Ge0cp30rWO0/T7nSlzzNRTI/AAAAAAAAABQ/Q2qe7AGllUA/s1600/gambar-peta-indonesia.gif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91502" y="3615873"/>
              <a:ext cx="1553880" cy="11728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5" name="Right Brace 34"/>
            <p:cNvSpPr/>
            <p:nvPr/>
          </p:nvSpPr>
          <p:spPr>
            <a:xfrm>
              <a:off x="9592954" y="1902916"/>
              <a:ext cx="530470" cy="2892014"/>
            </a:xfrm>
            <a:prstGeom prst="rightBrac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id-ID">
                <a:solidFill>
                  <a:prstClr val="black"/>
                </a:solidFill>
              </a:endParaRPr>
            </a:p>
          </p:txBody>
        </p:sp>
        <p:pic>
          <p:nvPicPr>
            <p:cNvPr id="39" name="Picture 29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91502" y="2096821"/>
              <a:ext cx="1563824" cy="15138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0" name="Rounded Rectangle 39"/>
          <p:cNvSpPr/>
          <p:nvPr/>
        </p:nvSpPr>
        <p:spPr>
          <a:xfrm>
            <a:off x="5967774" y="1544210"/>
            <a:ext cx="1312917" cy="23208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9.11</a:t>
            </a:r>
          </a:p>
        </p:txBody>
      </p:sp>
      <p:sp>
        <p:nvSpPr>
          <p:cNvPr id="41" name="Rectangle 40"/>
          <p:cNvSpPr/>
          <p:nvPr/>
        </p:nvSpPr>
        <p:spPr>
          <a:xfrm>
            <a:off x="1569665" y="434442"/>
            <a:ext cx="4168129" cy="5550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d-ID" sz="3007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</a:rPr>
              <a:t>LATAR BELAKANG </a:t>
            </a:r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152400"/>
            <a:ext cx="977234" cy="800169"/>
          </a:xfrm>
          <a:prstGeom prst="rect">
            <a:avLst/>
          </a:prstGeom>
          <a:effectLst>
            <a:softEdge rad="12700"/>
          </a:effectLst>
        </p:spPr>
      </p:pic>
      <p:grpSp>
        <p:nvGrpSpPr>
          <p:cNvPr id="3" name="Group 2"/>
          <p:cNvGrpSpPr/>
          <p:nvPr/>
        </p:nvGrpSpPr>
        <p:grpSpPr>
          <a:xfrm>
            <a:off x="1305445" y="1920638"/>
            <a:ext cx="2323276" cy="1383514"/>
            <a:chOff x="1098996" y="2191967"/>
            <a:chExt cx="2501701" cy="1656133"/>
          </a:xfrm>
        </p:grpSpPr>
        <p:sp>
          <p:nvSpPr>
            <p:cNvPr id="11" name="Rounded Rectangle 10"/>
            <p:cNvSpPr/>
            <p:nvPr/>
          </p:nvSpPr>
          <p:spPr>
            <a:xfrm>
              <a:off x="1098996" y="2191967"/>
              <a:ext cx="2501701" cy="1656133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>
                <a:solidFill>
                  <a:schemeClr val="tx1"/>
                </a:solidFill>
              </a:endParaRPr>
            </a:p>
          </p:txBody>
        </p:sp>
        <p:pic>
          <p:nvPicPr>
            <p:cNvPr id="1083" name="Picture 59" descr="Image result for increasing arrow symbol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40209" y="2255937"/>
              <a:ext cx="1994222" cy="14098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7" name="TextBox 46"/>
          <p:cNvSpPr txBox="1"/>
          <p:nvPr/>
        </p:nvSpPr>
        <p:spPr>
          <a:xfrm>
            <a:off x="7723615" y="2159963"/>
            <a:ext cx="367601" cy="2231511"/>
          </a:xfrm>
          <a:prstGeom prst="rect">
            <a:avLst/>
          </a:prstGeom>
          <a:noFill/>
        </p:spPr>
        <p:txBody>
          <a:bodyPr vert="wordArtVert"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AU" sz="1002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itchFamily="34" charset="0"/>
              </a:rPr>
              <a:t>TERRORISM</a:t>
            </a:r>
            <a:endParaRPr lang="id-ID" sz="1002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cs typeface="Arial" pitchFamily="34" charset="0"/>
            </a:endParaRPr>
          </a:p>
        </p:txBody>
      </p:sp>
      <p:sp>
        <p:nvSpPr>
          <p:cNvPr id="48" name="TextBox 5"/>
          <p:cNvSpPr txBox="1">
            <a:spLocks noChangeArrowheads="1"/>
          </p:cNvSpPr>
          <p:nvPr/>
        </p:nvSpPr>
        <p:spPr bwMode="auto">
          <a:xfrm>
            <a:off x="1064276" y="3885475"/>
            <a:ext cx="4079325" cy="4008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381945" indent="-381945" eaLnBrk="1" hangingPunct="1">
              <a:buFont typeface="+mj-lt"/>
              <a:buAutoNum type="arabicPeriod" startAt="3"/>
            </a:pPr>
            <a:r>
              <a:rPr lang="en-AU" sz="2005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STOMS ROLE</a:t>
            </a:r>
            <a:endParaRPr lang="id-ID" sz="2005" b="1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085" name="Picture 61" descr="Image result for CUSTOMS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5315" y="4402848"/>
            <a:ext cx="1753729" cy="1169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Explosion: 14 Points 49"/>
          <p:cNvSpPr/>
          <p:nvPr/>
        </p:nvSpPr>
        <p:spPr>
          <a:xfrm>
            <a:off x="5281531" y="4011150"/>
            <a:ext cx="3828956" cy="2113710"/>
          </a:xfrm>
          <a:prstGeom prst="irregularSeal2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Rectangle 5"/>
          <p:cNvSpPr/>
          <p:nvPr/>
        </p:nvSpPr>
        <p:spPr>
          <a:xfrm>
            <a:off x="5031242" y="4505276"/>
            <a:ext cx="4079245" cy="1105749"/>
          </a:xfrm>
          <a:prstGeom prst="rect">
            <a:avLst/>
          </a:prstGeom>
          <a:noFill/>
        </p:spPr>
        <p:txBody>
          <a:bodyPr wrap="square" lIns="76388" tIns="38194" rIns="76388" bIns="38194">
            <a:spAutoFit/>
          </a:bodyPr>
          <a:lstStyle/>
          <a:p>
            <a:pPr algn="ctr"/>
            <a:r>
              <a:rPr lang="en-US" sz="3342" b="1" i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Bookman Old Style" panose="02050604050505020204" pitchFamily="18" charset="0"/>
                <a:cs typeface="Arial" pitchFamily="34" charset="0"/>
              </a:rPr>
              <a:t>SPEED &amp; SECURITY</a:t>
            </a:r>
            <a:endParaRPr lang="en-AU" sz="3342" b="1" i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01977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75152" y="377445"/>
            <a:ext cx="8872022" cy="6223009"/>
            <a:chOff x="-3175" y="115888"/>
            <a:chExt cx="9150350" cy="6756400"/>
          </a:xfrm>
        </p:grpSpPr>
        <p:pic>
          <p:nvPicPr>
            <p:cNvPr id="9" name="Picture 6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-3175" y="6376988"/>
              <a:ext cx="9144000" cy="495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Slide Number Placeholder 5"/>
            <p:cNvSpPr txBox="1">
              <a:spLocks/>
            </p:cNvSpPr>
            <p:nvPr/>
          </p:nvSpPr>
          <p:spPr>
            <a:xfrm>
              <a:off x="214313" y="6381750"/>
              <a:ext cx="2133600" cy="365125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EB3DBFA5-2FB4-48DD-BE63-D917D46CC28C}" type="slidenum">
                <a:rPr lang="en-US" sz="1002"/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4</a:t>
              </a:fld>
              <a:endParaRPr lang="en-US" sz="1002" dirty="0"/>
            </a:p>
          </p:txBody>
        </p:sp>
        <p:pic>
          <p:nvPicPr>
            <p:cNvPr id="14" name="Picture 11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175" y="6300788"/>
              <a:ext cx="9144000" cy="76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19063" y="115888"/>
              <a:ext cx="871537" cy="798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12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223963" y="838200"/>
              <a:ext cx="7920037" cy="36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8" name="Straight Connector 17"/>
            <p:cNvCxnSpPr/>
            <p:nvPr/>
          </p:nvCxnSpPr>
          <p:spPr>
            <a:xfrm rot="5400000">
              <a:off x="709612" y="509588"/>
              <a:ext cx="714375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5" name="Picture 4" descr="http://4.bp.blogspot.com/-4M5ayXGmfP0/Us_NPw-queI/AAAAAAAAAl0/gQHq5oRrzvQ/s1600/ISO+Code+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4070" y="1685480"/>
            <a:ext cx="2225721" cy="1988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ight Arrow 25"/>
          <p:cNvSpPr/>
          <p:nvPr/>
        </p:nvSpPr>
        <p:spPr>
          <a:xfrm>
            <a:off x="996329" y="1934625"/>
            <a:ext cx="4474663" cy="2737232"/>
          </a:xfrm>
          <a:prstGeom prst="rightArrow">
            <a:avLst>
              <a:gd name="adj1" fmla="val 50000"/>
              <a:gd name="adj2" fmla="val 17915"/>
            </a:avLst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latin typeface="Calibri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627780" y="4938530"/>
            <a:ext cx="4092587" cy="10178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3007" b="1" i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cs typeface="Arial" pitchFamily="34" charset="0"/>
              </a:rPr>
              <a:t>S</a:t>
            </a:r>
            <a:r>
              <a:rPr lang="en-AU" sz="3007" b="1" i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cs typeface="Arial" pitchFamily="34" charset="0"/>
              </a:rPr>
              <a:t>ECURITY AWARENESS</a:t>
            </a:r>
            <a:endParaRPr lang="id-ID" sz="3007" b="1" i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  <a:cs typeface="Arial" pitchFamily="34" charset="0"/>
            </a:endParaRPr>
          </a:p>
        </p:txBody>
      </p:sp>
      <p:sp>
        <p:nvSpPr>
          <p:cNvPr id="28" name="Title 2"/>
          <p:cNvSpPr txBox="1">
            <a:spLocks/>
          </p:cNvSpPr>
          <p:nvPr/>
        </p:nvSpPr>
        <p:spPr>
          <a:xfrm>
            <a:off x="5419221" y="1168606"/>
            <a:ext cx="2864545" cy="462836"/>
          </a:xfrm>
          <a:prstGeom prst="rect">
            <a:avLst/>
          </a:prstGeom>
        </p:spPr>
        <p:txBody>
          <a:bodyPr vert="horz" lIns="76388" tIns="38194" rIns="76388" bIns="38194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8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AU" sz="1671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aramond" panose="02020404030301010803" pitchFamily="18" charset="0"/>
              </a:rPr>
              <a:t>PEMERIKSAAN </a:t>
            </a:r>
          </a:p>
          <a:p>
            <a:r>
              <a:rPr lang="en-AU" sz="1671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aramond" panose="02020404030301010803" pitchFamily="18" charset="0"/>
              </a:rPr>
              <a:t>PETI KEMAS</a:t>
            </a:r>
            <a:endParaRPr lang="id-ID" sz="1671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aramond" panose="02020404030301010803" pitchFamily="18" charset="0"/>
            </a:endParaRPr>
          </a:p>
        </p:txBody>
      </p:sp>
      <p:pic>
        <p:nvPicPr>
          <p:cNvPr id="31" name="Picture 11" descr="http://padiemas.blogdetik.com/files/2009/06/100_1513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6915" y="3708036"/>
            <a:ext cx="1800032" cy="1800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3" descr="http://cdn.xl.thumbs.canstockphoto.com/canstock21295663.jpg"/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9794" b="89691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002" y="3900021"/>
            <a:ext cx="2116581" cy="1543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1055752" y="1272000"/>
            <a:ext cx="3605154" cy="3444274"/>
            <a:chOff x="1445274" y="924991"/>
            <a:chExt cx="4775096" cy="4580163"/>
          </a:xfrm>
        </p:grpSpPr>
        <p:pic>
          <p:nvPicPr>
            <p:cNvPr id="29" name="Picture 9"/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9747" b="39694"/>
            <a:stretch/>
          </p:blipFill>
          <p:spPr bwMode="auto">
            <a:xfrm>
              <a:off x="1639092" y="2572938"/>
              <a:ext cx="4581278" cy="2932216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0" cap="sq">
              <a:solidFill>
                <a:srgbClr val="FFFFFF"/>
              </a:solidFill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360000"/>
              </a:camera>
              <a:lightRig rig="twoPt" dir="t">
                <a:rot lat="0" lon="0" rev="7200000"/>
              </a:lightRig>
            </a:scene3d>
            <a:sp3d contourW="12700">
              <a:bevelT w="25400" h="19050"/>
              <a:contourClr>
                <a:srgbClr val="969696"/>
              </a:contourClr>
            </a:sp3d>
            <a:extLst/>
          </p:spPr>
        </p:pic>
        <p:pic>
          <p:nvPicPr>
            <p:cNvPr id="30" name="Picture 2" descr="http://spanishnewstoday.com/images/articles/20265_cdiz-46-500-boxes-of-cigarettes-concealed-in-refrigerated-lorry_2_large.jpg"/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120" r="4464"/>
            <a:stretch/>
          </p:blipFill>
          <p:spPr bwMode="auto">
            <a:xfrm>
              <a:off x="1445274" y="1077391"/>
              <a:ext cx="2914694" cy="2288868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15" descr="http://resources1.news.com.au/images/2011/12/23/1226229/255665-drug-bust.jpg"/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b="27253"/>
            <a:stretch/>
          </p:blipFill>
          <p:spPr bwMode="auto">
            <a:xfrm>
              <a:off x="3929731" y="924991"/>
              <a:ext cx="2146307" cy="2080161"/>
            </a:xfrm>
            <a:prstGeom prst="snip2Diag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88900" algn="tl" rotWithShape="0">
                <a:srgbClr val="000000">
                  <a:alpha val="45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  <a:extLst/>
          </p:spPr>
        </p:pic>
      </p:grpSp>
      <p:sp>
        <p:nvSpPr>
          <p:cNvPr id="34" name="TextBox 33"/>
          <p:cNvSpPr txBox="1"/>
          <p:nvPr/>
        </p:nvSpPr>
        <p:spPr>
          <a:xfrm>
            <a:off x="1386463" y="457410"/>
            <a:ext cx="4872524" cy="503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0660" indent="-620660">
              <a:buFont typeface="+mj-lt"/>
              <a:buAutoNum type="arabicPeriod" startAt="4"/>
            </a:pPr>
            <a:r>
              <a:rPr lang="en-AU" sz="2673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</a:rPr>
              <a:t>ILLEGAL TRADING</a:t>
            </a:r>
            <a:endParaRPr lang="id-ID" sz="2673" b="1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4366" y="190431"/>
            <a:ext cx="977234" cy="800169"/>
          </a:xfrm>
          <a:prstGeom prst="rect">
            <a:avLst/>
          </a:prstGeom>
          <a:effectLst>
            <a:softEdge rad="12700"/>
          </a:effectLst>
        </p:spPr>
      </p:pic>
    </p:spTree>
    <p:extLst>
      <p:ext uri="{BB962C8B-B14F-4D97-AF65-F5344CB8AC3E}">
        <p14:creationId xmlns:p14="http://schemas.microsoft.com/office/powerpoint/2010/main" val="2061271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75152" y="377445"/>
            <a:ext cx="8872022" cy="6223009"/>
            <a:chOff x="-3175" y="115888"/>
            <a:chExt cx="9150350" cy="6756400"/>
          </a:xfrm>
        </p:grpSpPr>
        <p:pic>
          <p:nvPicPr>
            <p:cNvPr id="9" name="Picture 6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-3175" y="6376988"/>
              <a:ext cx="9144000" cy="495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Slide Number Placeholder 5"/>
            <p:cNvSpPr txBox="1">
              <a:spLocks/>
            </p:cNvSpPr>
            <p:nvPr/>
          </p:nvSpPr>
          <p:spPr>
            <a:xfrm>
              <a:off x="214313" y="6381750"/>
              <a:ext cx="2133600" cy="365125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EB3DBFA5-2FB4-48DD-BE63-D917D46CC28C}" type="slidenum">
                <a:rPr lang="en-US" sz="1002"/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5</a:t>
              </a:fld>
              <a:endParaRPr lang="en-US" sz="1002" dirty="0"/>
            </a:p>
          </p:txBody>
        </p:sp>
        <p:pic>
          <p:nvPicPr>
            <p:cNvPr id="14" name="Picture 11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175" y="6300788"/>
              <a:ext cx="9144000" cy="76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19063" y="115888"/>
              <a:ext cx="871537" cy="798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12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223963" y="838200"/>
              <a:ext cx="7920037" cy="36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8" name="Straight Connector 17"/>
            <p:cNvCxnSpPr/>
            <p:nvPr/>
          </p:nvCxnSpPr>
          <p:spPr>
            <a:xfrm rot="5400000">
              <a:off x="709612" y="509588"/>
              <a:ext cx="714375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Right Arrow 9"/>
          <p:cNvSpPr/>
          <p:nvPr/>
        </p:nvSpPr>
        <p:spPr>
          <a:xfrm rot="5400000">
            <a:off x="4136988" y="2363297"/>
            <a:ext cx="276876" cy="1048149"/>
          </a:xfrm>
          <a:prstGeom prst="right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1684579" y="411075"/>
            <a:ext cx="3883050" cy="763879"/>
          </a:xfrm>
          <a:prstGeom prst="rect">
            <a:avLst/>
          </a:prstGeom>
        </p:spPr>
        <p:txBody>
          <a:bodyPr vert="horz" lIns="76388" tIns="38194" rIns="76388" bIns="38194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7361" lvl="1" algn="just"/>
            <a:r>
              <a:rPr lang="id-ID" sz="3342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</a:rPr>
              <a:t>DEFINISI AEO</a:t>
            </a:r>
            <a:endParaRPr lang="en-US" sz="3342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1312581" y="4618030"/>
            <a:ext cx="1526280" cy="644964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d-ID" sz="4511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Candara" pitchFamily="34" charset="0"/>
              </a:rPr>
              <a:t>AEO</a:t>
            </a:r>
            <a:endParaRPr lang="id-ID" sz="117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  <a:latin typeface="Candara" pitchFamily="34" charset="0"/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1312581" y="3291216"/>
            <a:ext cx="6429314" cy="413768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d-ID" sz="2005" b="1" dirty="0">
                <a:solidFill>
                  <a:schemeClr val="tx1"/>
                </a:solidFill>
                <a:latin typeface="Calibri" pitchFamily="34" charset="0"/>
              </a:rPr>
              <a:t>Pasal 2 ayat (2) PMK 227/PMK.04/2014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213131" y="1514434"/>
            <a:ext cx="7002221" cy="10179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7361" lvl="1" algn="just"/>
            <a:r>
              <a:rPr lang="id-ID" sz="2005" b="1" dirty="0">
                <a:latin typeface="Candara" pitchFamily="34" charset="0"/>
              </a:rPr>
              <a:t>“</a:t>
            </a:r>
            <a:r>
              <a:rPr lang="en-US" sz="2005" b="1" dirty="0">
                <a:latin typeface="Candara" pitchFamily="34" charset="0"/>
              </a:rPr>
              <a:t>Operator </a:t>
            </a:r>
            <a:r>
              <a:rPr lang="en-US" sz="2005" b="1" dirty="0" err="1">
                <a:latin typeface="Candara" pitchFamily="34" charset="0"/>
              </a:rPr>
              <a:t>Ekonomi</a:t>
            </a:r>
            <a:r>
              <a:rPr lang="en-US" sz="2005" b="1" dirty="0">
                <a:latin typeface="Candara" pitchFamily="34" charset="0"/>
              </a:rPr>
              <a:t> </a:t>
            </a:r>
            <a:r>
              <a:rPr lang="id-ID" sz="2005" b="1" dirty="0">
                <a:latin typeface="Candara" pitchFamily="34" charset="0"/>
              </a:rPr>
              <a:t>yang mendapat pengakuan oleh Direkt</a:t>
            </a:r>
            <a:r>
              <a:rPr lang="en-US" sz="2005" b="1" dirty="0" err="1">
                <a:latin typeface="Candara" pitchFamily="34" charset="0"/>
              </a:rPr>
              <a:t>orat</a:t>
            </a:r>
            <a:r>
              <a:rPr lang="id-ID" sz="2005" b="1" dirty="0">
                <a:latin typeface="Candara" pitchFamily="34" charset="0"/>
              </a:rPr>
              <a:t> Jenderal Bea dan Cukai </a:t>
            </a:r>
            <a:r>
              <a:rPr lang="en-US" sz="2005" b="1" dirty="0" err="1">
                <a:latin typeface="Candara" pitchFamily="34" charset="0"/>
              </a:rPr>
              <a:t>sehingga</a:t>
            </a:r>
            <a:r>
              <a:rPr lang="en-US" sz="2005" b="1" dirty="0">
                <a:latin typeface="Candara" pitchFamily="34" charset="0"/>
              </a:rPr>
              <a:t> </a:t>
            </a:r>
            <a:r>
              <a:rPr lang="en-US" sz="2005" b="1" dirty="0" err="1">
                <a:latin typeface="Candara" pitchFamily="34" charset="0"/>
              </a:rPr>
              <a:t>mendapatkan</a:t>
            </a:r>
            <a:r>
              <a:rPr lang="en-US" sz="2005" b="1" dirty="0">
                <a:latin typeface="Candara" pitchFamily="34" charset="0"/>
              </a:rPr>
              <a:t> </a:t>
            </a:r>
            <a:r>
              <a:rPr lang="en-US" sz="2005" b="1" dirty="0" err="1">
                <a:latin typeface="Candara" pitchFamily="34" charset="0"/>
              </a:rPr>
              <a:t>perlakuan</a:t>
            </a:r>
            <a:r>
              <a:rPr lang="en-US" sz="2005" b="1" dirty="0">
                <a:latin typeface="Candara" pitchFamily="34" charset="0"/>
              </a:rPr>
              <a:t> </a:t>
            </a:r>
            <a:r>
              <a:rPr lang="en-US" sz="2005" b="1" dirty="0" err="1">
                <a:latin typeface="Candara" pitchFamily="34" charset="0"/>
              </a:rPr>
              <a:t>kepabeanan</a:t>
            </a:r>
            <a:r>
              <a:rPr lang="en-US" sz="2005" b="1" dirty="0">
                <a:latin typeface="Candara" pitchFamily="34" charset="0"/>
              </a:rPr>
              <a:t> </a:t>
            </a:r>
            <a:r>
              <a:rPr lang="en-US" sz="2005" b="1" dirty="0" err="1">
                <a:latin typeface="Candara" pitchFamily="34" charset="0"/>
              </a:rPr>
              <a:t>tertentu</a:t>
            </a:r>
            <a:r>
              <a:rPr lang="id-ID" sz="2005" b="1" dirty="0">
                <a:latin typeface="Candara" pitchFamily="34" charset="0"/>
              </a:rPr>
              <a:t>”</a:t>
            </a:r>
            <a:endParaRPr lang="en-US" sz="2005" b="1" dirty="0">
              <a:latin typeface="Candara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76600" y="4104783"/>
            <a:ext cx="5709768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38716" indent="-238716">
              <a:buFont typeface="Wingdings" panose="05000000000000000000" pitchFamily="2" charset="2"/>
              <a:buChar char="ü"/>
            </a:pPr>
            <a:r>
              <a:rPr lang="id-ID" dirty="0"/>
              <a:t>IMPORTIR</a:t>
            </a:r>
          </a:p>
          <a:p>
            <a:pPr marL="238716" indent="-238716">
              <a:buFont typeface="Wingdings" panose="05000000000000000000" pitchFamily="2" charset="2"/>
              <a:buChar char="ü"/>
            </a:pPr>
            <a:r>
              <a:rPr lang="id-ID" dirty="0"/>
              <a:t>EKSPORTIR</a:t>
            </a:r>
          </a:p>
          <a:p>
            <a:pPr marL="238716" indent="-238716">
              <a:buFont typeface="Wingdings" panose="05000000000000000000" pitchFamily="2" charset="2"/>
              <a:buChar char="ü"/>
            </a:pPr>
            <a:r>
              <a:rPr lang="id-ID" dirty="0"/>
              <a:t>PPJK</a:t>
            </a:r>
          </a:p>
          <a:p>
            <a:pPr marL="238716" indent="-238716">
              <a:buFont typeface="Wingdings" panose="05000000000000000000" pitchFamily="2" charset="2"/>
              <a:buChar char="ü"/>
            </a:pPr>
            <a:r>
              <a:rPr lang="id-ID" dirty="0"/>
              <a:t>PENGUSAHA TPS</a:t>
            </a:r>
          </a:p>
          <a:p>
            <a:pPr marL="238716" indent="-238716">
              <a:buFont typeface="Wingdings" panose="05000000000000000000" pitchFamily="2" charset="2"/>
              <a:buChar char="ü"/>
            </a:pPr>
            <a:r>
              <a:rPr lang="id-ID" dirty="0"/>
              <a:t>PENGUSAHA TPB</a:t>
            </a:r>
          </a:p>
          <a:p>
            <a:pPr marL="238716" indent="-238716">
              <a:buFont typeface="Wingdings" panose="05000000000000000000" pitchFamily="2" charset="2"/>
              <a:buChar char="ü"/>
            </a:pPr>
            <a:r>
              <a:rPr lang="id-ID" dirty="0"/>
              <a:t>PENGANGKUT</a:t>
            </a:r>
          </a:p>
          <a:p>
            <a:pPr marL="238716" indent="-238716">
              <a:buFont typeface="Wingdings" panose="05000000000000000000" pitchFamily="2" charset="2"/>
              <a:buChar char="ü"/>
            </a:pPr>
            <a:r>
              <a:rPr lang="id-ID" dirty="0"/>
              <a:t>PIHAK LAINNYA (KONSOLIDATOR, PENYELENGGARA POS)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3578" y="331830"/>
            <a:ext cx="977234" cy="800169"/>
          </a:xfrm>
          <a:prstGeom prst="rect">
            <a:avLst/>
          </a:prstGeom>
          <a:effectLst>
            <a:softEdge rad="12700"/>
          </a:effectLst>
        </p:spPr>
      </p:pic>
    </p:spTree>
    <p:extLst>
      <p:ext uri="{BB962C8B-B14F-4D97-AF65-F5344CB8AC3E}">
        <p14:creationId xmlns:p14="http://schemas.microsoft.com/office/powerpoint/2010/main" val="15159322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75152" y="377445"/>
            <a:ext cx="8872022" cy="6223009"/>
            <a:chOff x="-3175" y="115888"/>
            <a:chExt cx="9150350" cy="6756400"/>
          </a:xfrm>
        </p:grpSpPr>
        <p:pic>
          <p:nvPicPr>
            <p:cNvPr id="9" name="Picture 6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-3175" y="6376988"/>
              <a:ext cx="9144000" cy="495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Slide Number Placeholder 5"/>
            <p:cNvSpPr txBox="1">
              <a:spLocks/>
            </p:cNvSpPr>
            <p:nvPr/>
          </p:nvSpPr>
          <p:spPr>
            <a:xfrm>
              <a:off x="214313" y="6381750"/>
              <a:ext cx="2133600" cy="365125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EB3DBFA5-2FB4-48DD-BE63-D917D46CC28C}" type="slidenum">
                <a:rPr lang="en-US" sz="1002"/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6</a:t>
              </a:fld>
              <a:endParaRPr lang="en-US" sz="1002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572250" y="6400800"/>
              <a:ext cx="2104970" cy="39333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d-ID" sz="877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rektorat Jenderal </a:t>
              </a:r>
              <a:r>
                <a:rPr lang="en-US" sz="877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id-ID" sz="877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ea dan Cukai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d-ID" sz="877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ementerian Keuangan RI</a:t>
              </a:r>
            </a:p>
          </p:txBody>
        </p:sp>
        <p:pic>
          <p:nvPicPr>
            <p:cNvPr id="14" name="Picture 11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175" y="6300788"/>
              <a:ext cx="9144000" cy="76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19063" y="115888"/>
              <a:ext cx="871537" cy="798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12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223963" y="838200"/>
              <a:ext cx="7920037" cy="36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8" name="Straight Connector 17"/>
            <p:cNvCxnSpPr/>
            <p:nvPr/>
          </p:nvCxnSpPr>
          <p:spPr>
            <a:xfrm rot="5400000">
              <a:off x="709612" y="509588"/>
              <a:ext cx="714375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12" descr="http://pixabay.com/static/uploads/photo/2012/04/18/21/14/black-37902_640.png"/>
          <p:cNvPicPr>
            <a:picLocks noChangeAspect="1" noChangeArrowheads="1"/>
          </p:cNvPicPr>
          <p:nvPr/>
        </p:nvPicPr>
        <p:blipFill>
          <a:blip r:embed="rId6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2353997" y="1306098"/>
            <a:ext cx="4538290" cy="4513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1418147" y="434183"/>
            <a:ext cx="6365656" cy="517209"/>
          </a:xfrm>
          <a:prstGeom prst="rect">
            <a:avLst/>
          </a:prstGeom>
        </p:spPr>
        <p:txBody>
          <a:bodyPr vert="horz" lIns="76388" tIns="38194" rIns="76388" bIns="38194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id-ID" sz="267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+mn-ea"/>
                <a:cs typeface="+mn-cs"/>
              </a:rPr>
              <a:t>SUPPLY CHAIN</a:t>
            </a:r>
          </a:p>
        </p:txBody>
      </p:sp>
      <p:pic>
        <p:nvPicPr>
          <p:cNvPr id="15" name="Picture 174" descr="semi trailer 1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563256" y="4568606"/>
            <a:ext cx="986677" cy="560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80" descr="배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741628" y="5002934"/>
            <a:ext cx="1006570" cy="5331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106" descr="supplier3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6000"/>
          </a:blip>
          <a:srcRect/>
          <a:stretch>
            <a:fillRect/>
          </a:stretch>
        </p:blipFill>
        <p:spPr bwMode="auto">
          <a:xfrm>
            <a:off x="2493624" y="1225202"/>
            <a:ext cx="1035745" cy="661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81" descr="지계차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810539" y="4634806"/>
            <a:ext cx="962806" cy="661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4" descr="https://encrypted-tbn0.google.com/images?q=tbn:ANd9GcTsnRpROmd3V8_Phz_Nbs24dLdCB5By8fr6-nVansikLPz5uF6gB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579262" y="3518164"/>
            <a:ext cx="1262522" cy="946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8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998336" y="3533940"/>
            <a:ext cx="409789" cy="318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8" descr="https://encrypted-tbn3.google.com/images?q=tbn:ANd9GcTUj8nVe26KoL9XlUEqaRrdV75VgJ_ni8Yo0tqMBRDvwhABmrKj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5787473" y="3864297"/>
            <a:ext cx="273193" cy="214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10" descr="https://encrypted-tbn1.google.com/images?q=tbn:ANd9GcSDldou8_r3Whas-G01DwaQjPwHXCkYuenanIykT5PbEY3NDhh9Xw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6408125" y="3754224"/>
            <a:ext cx="494664" cy="350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Line 11"/>
          <p:cNvSpPr>
            <a:spLocks noChangeShapeType="1"/>
          </p:cNvSpPr>
          <p:nvPr/>
        </p:nvSpPr>
        <p:spPr bwMode="auto">
          <a:xfrm>
            <a:off x="1869280" y="1442647"/>
            <a:ext cx="773824" cy="156537"/>
          </a:xfrm>
          <a:prstGeom prst="line">
            <a:avLst/>
          </a:prstGeom>
          <a:noFill/>
          <a:ln w="19050">
            <a:solidFill>
              <a:srgbClr val="8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id-ID"/>
          </a:p>
        </p:txBody>
      </p:sp>
      <p:sp>
        <p:nvSpPr>
          <p:cNvPr id="27" name="Line 11"/>
          <p:cNvSpPr>
            <a:spLocks noChangeShapeType="1"/>
          </p:cNvSpPr>
          <p:nvPr/>
        </p:nvSpPr>
        <p:spPr bwMode="auto">
          <a:xfrm flipV="1">
            <a:off x="6796695" y="2500040"/>
            <a:ext cx="695928" cy="142846"/>
          </a:xfrm>
          <a:prstGeom prst="line">
            <a:avLst/>
          </a:prstGeom>
          <a:noFill/>
          <a:ln w="19050">
            <a:solidFill>
              <a:srgbClr val="8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id-ID"/>
          </a:p>
        </p:txBody>
      </p:sp>
      <p:sp>
        <p:nvSpPr>
          <p:cNvPr id="28" name="Line 11"/>
          <p:cNvSpPr>
            <a:spLocks noChangeShapeType="1"/>
          </p:cNvSpPr>
          <p:nvPr/>
        </p:nvSpPr>
        <p:spPr bwMode="auto">
          <a:xfrm flipV="1">
            <a:off x="6902788" y="3971715"/>
            <a:ext cx="554343" cy="19893"/>
          </a:xfrm>
          <a:prstGeom prst="line">
            <a:avLst/>
          </a:prstGeom>
          <a:noFill/>
          <a:ln w="19050">
            <a:solidFill>
              <a:srgbClr val="8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id-ID"/>
          </a:p>
        </p:txBody>
      </p:sp>
      <p:sp>
        <p:nvSpPr>
          <p:cNvPr id="29" name="Line 11"/>
          <p:cNvSpPr>
            <a:spLocks noChangeShapeType="1"/>
          </p:cNvSpPr>
          <p:nvPr/>
        </p:nvSpPr>
        <p:spPr bwMode="auto">
          <a:xfrm flipV="1">
            <a:off x="4366500" y="5240207"/>
            <a:ext cx="667067" cy="354089"/>
          </a:xfrm>
          <a:prstGeom prst="line">
            <a:avLst/>
          </a:prstGeom>
          <a:noFill/>
          <a:ln w="19050">
            <a:solidFill>
              <a:srgbClr val="8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id-ID"/>
          </a:p>
        </p:txBody>
      </p:sp>
      <p:sp>
        <p:nvSpPr>
          <p:cNvPr id="30" name="Line 11"/>
          <p:cNvSpPr>
            <a:spLocks noChangeShapeType="1"/>
          </p:cNvSpPr>
          <p:nvPr/>
        </p:nvSpPr>
        <p:spPr bwMode="auto">
          <a:xfrm>
            <a:off x="1930455" y="4957254"/>
            <a:ext cx="729422" cy="0"/>
          </a:xfrm>
          <a:prstGeom prst="line">
            <a:avLst/>
          </a:prstGeom>
          <a:noFill/>
          <a:ln w="19050">
            <a:solidFill>
              <a:srgbClr val="8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id-ID"/>
          </a:p>
        </p:txBody>
      </p:sp>
      <p:grpSp>
        <p:nvGrpSpPr>
          <p:cNvPr id="31" name="Group 9"/>
          <p:cNvGrpSpPr>
            <a:grpSpLocks/>
          </p:cNvGrpSpPr>
          <p:nvPr/>
        </p:nvGrpSpPr>
        <p:grpSpPr bwMode="auto">
          <a:xfrm>
            <a:off x="1137891" y="1298584"/>
            <a:ext cx="710832" cy="395201"/>
            <a:chOff x="714" y="1341"/>
            <a:chExt cx="1224" cy="492"/>
          </a:xfrm>
        </p:grpSpPr>
        <p:sp>
          <p:nvSpPr>
            <p:cNvPr id="32" name="Cloud"/>
            <p:cNvSpPr>
              <a:spLocks noChangeAspect="1" noEditPoints="1" noChangeArrowheads="1"/>
            </p:cNvSpPr>
            <p:nvPr/>
          </p:nvSpPr>
          <p:spPr bwMode="auto">
            <a:xfrm>
              <a:off x="714" y="1341"/>
              <a:ext cx="1224" cy="49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82 w 21600"/>
                <a:gd name="T13" fmla="*/ 3249 h 21600"/>
                <a:gd name="T14" fmla="*/ 17082 w 21600"/>
                <a:gd name="T15" fmla="*/ 1734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 extrusionOk="0">
                  <a:moveTo>
                    <a:pt x="1949" y="7180"/>
                  </a:moveTo>
                  <a:cubicBezTo>
                    <a:pt x="841" y="7336"/>
                    <a:pt x="0" y="8613"/>
                    <a:pt x="0" y="10137"/>
                  </a:cubicBezTo>
                  <a:cubicBezTo>
                    <a:pt x="-1" y="11192"/>
                    <a:pt x="409" y="12169"/>
                    <a:pt x="1074" y="12702"/>
                  </a:cubicBezTo>
                  <a:lnTo>
                    <a:pt x="1063" y="12668"/>
                  </a:lnTo>
                  <a:cubicBezTo>
                    <a:pt x="685" y="13217"/>
                    <a:pt x="475" y="13940"/>
                    <a:pt x="475" y="14690"/>
                  </a:cubicBezTo>
                  <a:cubicBezTo>
                    <a:pt x="475" y="16325"/>
                    <a:pt x="1451" y="17650"/>
                    <a:pt x="2655" y="17650"/>
                  </a:cubicBezTo>
                  <a:cubicBezTo>
                    <a:pt x="2739" y="17650"/>
                    <a:pt x="2824" y="17643"/>
                    <a:pt x="2909" y="17629"/>
                  </a:cubicBezTo>
                  <a:lnTo>
                    <a:pt x="2897" y="17649"/>
                  </a:lnTo>
                  <a:cubicBezTo>
                    <a:pt x="3585" y="19288"/>
                    <a:pt x="4863" y="20300"/>
                    <a:pt x="6247" y="20300"/>
                  </a:cubicBezTo>
                  <a:cubicBezTo>
                    <a:pt x="6947" y="20299"/>
                    <a:pt x="7635" y="20039"/>
                    <a:pt x="8235" y="19546"/>
                  </a:cubicBezTo>
                  <a:lnTo>
                    <a:pt x="8229" y="19550"/>
                  </a:lnTo>
                  <a:cubicBezTo>
                    <a:pt x="8855" y="20829"/>
                    <a:pt x="9908" y="21597"/>
                    <a:pt x="11036" y="21597"/>
                  </a:cubicBezTo>
                  <a:cubicBezTo>
                    <a:pt x="12523" y="21596"/>
                    <a:pt x="13836" y="20267"/>
                    <a:pt x="14267" y="18324"/>
                  </a:cubicBezTo>
                  <a:lnTo>
                    <a:pt x="14270" y="18350"/>
                  </a:lnTo>
                  <a:cubicBezTo>
                    <a:pt x="14730" y="18740"/>
                    <a:pt x="15260" y="18947"/>
                    <a:pt x="15802" y="18947"/>
                  </a:cubicBezTo>
                  <a:cubicBezTo>
                    <a:pt x="17390" y="18946"/>
                    <a:pt x="18682" y="17205"/>
                    <a:pt x="18694" y="15045"/>
                  </a:cubicBezTo>
                  <a:lnTo>
                    <a:pt x="18689" y="15035"/>
                  </a:lnTo>
                  <a:cubicBezTo>
                    <a:pt x="20357" y="14710"/>
                    <a:pt x="21597" y="12765"/>
                    <a:pt x="21597" y="10472"/>
                  </a:cubicBezTo>
                  <a:cubicBezTo>
                    <a:pt x="21597" y="9456"/>
                    <a:pt x="21350" y="8469"/>
                    <a:pt x="20896" y="7663"/>
                  </a:cubicBezTo>
                  <a:lnTo>
                    <a:pt x="20889" y="7661"/>
                  </a:lnTo>
                  <a:cubicBezTo>
                    <a:pt x="21031" y="7208"/>
                    <a:pt x="21105" y="6721"/>
                    <a:pt x="21105" y="6228"/>
                  </a:cubicBezTo>
                  <a:cubicBezTo>
                    <a:pt x="21105" y="4588"/>
                    <a:pt x="20299" y="3150"/>
                    <a:pt x="19139" y="2719"/>
                  </a:cubicBezTo>
                  <a:lnTo>
                    <a:pt x="19148" y="2712"/>
                  </a:lnTo>
                  <a:cubicBezTo>
                    <a:pt x="18940" y="1142"/>
                    <a:pt x="17933" y="0"/>
                    <a:pt x="16758" y="0"/>
                  </a:cubicBezTo>
                  <a:cubicBezTo>
                    <a:pt x="16044" y="-1"/>
                    <a:pt x="15367" y="426"/>
                    <a:pt x="14905" y="1165"/>
                  </a:cubicBezTo>
                  <a:lnTo>
                    <a:pt x="14909" y="1170"/>
                  </a:lnTo>
                  <a:cubicBezTo>
                    <a:pt x="14497" y="432"/>
                    <a:pt x="13855" y="0"/>
                    <a:pt x="13174" y="0"/>
                  </a:cubicBezTo>
                  <a:cubicBezTo>
                    <a:pt x="12347" y="-1"/>
                    <a:pt x="11590" y="637"/>
                    <a:pt x="11221" y="1645"/>
                  </a:cubicBezTo>
                  <a:lnTo>
                    <a:pt x="11229" y="1694"/>
                  </a:lnTo>
                  <a:cubicBezTo>
                    <a:pt x="10730" y="1024"/>
                    <a:pt x="10058" y="650"/>
                    <a:pt x="9358" y="650"/>
                  </a:cubicBezTo>
                  <a:cubicBezTo>
                    <a:pt x="8372" y="649"/>
                    <a:pt x="7466" y="1391"/>
                    <a:pt x="7003" y="2578"/>
                  </a:cubicBezTo>
                  <a:lnTo>
                    <a:pt x="6995" y="2602"/>
                  </a:lnTo>
                  <a:cubicBezTo>
                    <a:pt x="6477" y="2189"/>
                    <a:pt x="5888" y="1972"/>
                    <a:pt x="5288" y="1972"/>
                  </a:cubicBezTo>
                  <a:cubicBezTo>
                    <a:pt x="3423" y="1972"/>
                    <a:pt x="1912" y="4029"/>
                    <a:pt x="1912" y="6567"/>
                  </a:cubicBezTo>
                  <a:cubicBezTo>
                    <a:pt x="1911" y="6774"/>
                    <a:pt x="1922" y="6981"/>
                    <a:pt x="1942" y="7186"/>
                  </a:cubicBezTo>
                  <a:lnTo>
                    <a:pt x="1949" y="7180"/>
                  </a:lnTo>
                  <a:close/>
                </a:path>
                <a:path w="21600" h="21600" fill="none" extrusionOk="0">
                  <a:moveTo>
                    <a:pt x="1074" y="12702"/>
                  </a:moveTo>
                  <a:cubicBezTo>
                    <a:pt x="1407" y="12969"/>
                    <a:pt x="1786" y="13110"/>
                    <a:pt x="2172" y="13110"/>
                  </a:cubicBezTo>
                  <a:cubicBezTo>
                    <a:pt x="2228" y="13109"/>
                    <a:pt x="2285" y="13107"/>
                    <a:pt x="2341" y="13101"/>
                  </a:cubicBezTo>
                </a:path>
                <a:path w="21600" h="21600" fill="none" extrusionOk="0">
                  <a:moveTo>
                    <a:pt x="2909" y="17629"/>
                  </a:moveTo>
                  <a:cubicBezTo>
                    <a:pt x="3099" y="17599"/>
                    <a:pt x="3285" y="17535"/>
                    <a:pt x="3463" y="17439"/>
                  </a:cubicBezTo>
                </a:path>
                <a:path w="21600" h="21600" fill="none" extrusionOk="0">
                  <a:moveTo>
                    <a:pt x="7895" y="18680"/>
                  </a:moveTo>
                  <a:cubicBezTo>
                    <a:pt x="7983" y="18985"/>
                    <a:pt x="8095" y="19277"/>
                    <a:pt x="8229" y="19550"/>
                  </a:cubicBezTo>
                </a:path>
                <a:path w="21600" h="21600" fill="none" extrusionOk="0">
                  <a:moveTo>
                    <a:pt x="14267" y="18324"/>
                  </a:moveTo>
                  <a:cubicBezTo>
                    <a:pt x="14336" y="18013"/>
                    <a:pt x="14380" y="17693"/>
                    <a:pt x="14400" y="17370"/>
                  </a:cubicBezTo>
                </a:path>
                <a:path w="21600" h="21600" fill="none" extrusionOk="0">
                  <a:moveTo>
                    <a:pt x="18694" y="15045"/>
                  </a:moveTo>
                  <a:cubicBezTo>
                    <a:pt x="18694" y="15034"/>
                    <a:pt x="18695" y="15024"/>
                    <a:pt x="18695" y="15013"/>
                  </a:cubicBezTo>
                  <a:cubicBezTo>
                    <a:pt x="18695" y="13508"/>
                    <a:pt x="18063" y="12136"/>
                    <a:pt x="17069" y="11477"/>
                  </a:cubicBezTo>
                </a:path>
                <a:path w="21600" h="21600" fill="none" extrusionOk="0">
                  <a:moveTo>
                    <a:pt x="20165" y="8999"/>
                  </a:moveTo>
                  <a:cubicBezTo>
                    <a:pt x="20479" y="8635"/>
                    <a:pt x="20726" y="8177"/>
                    <a:pt x="20889" y="7661"/>
                  </a:cubicBezTo>
                </a:path>
                <a:path w="21600" h="21600" fill="none" extrusionOk="0">
                  <a:moveTo>
                    <a:pt x="19186" y="3344"/>
                  </a:moveTo>
                  <a:cubicBezTo>
                    <a:pt x="19186" y="3328"/>
                    <a:pt x="19187" y="3313"/>
                    <a:pt x="19187" y="3297"/>
                  </a:cubicBezTo>
                  <a:cubicBezTo>
                    <a:pt x="19187" y="3101"/>
                    <a:pt x="19174" y="2905"/>
                    <a:pt x="19148" y="2712"/>
                  </a:cubicBezTo>
                </a:path>
                <a:path w="21600" h="21600" fill="none" extrusionOk="0">
                  <a:moveTo>
                    <a:pt x="14905" y="1165"/>
                  </a:moveTo>
                  <a:cubicBezTo>
                    <a:pt x="14754" y="1408"/>
                    <a:pt x="14629" y="1679"/>
                    <a:pt x="14535" y="1971"/>
                  </a:cubicBezTo>
                </a:path>
                <a:path w="21600" h="21600" fill="none" extrusionOk="0">
                  <a:moveTo>
                    <a:pt x="11221" y="1645"/>
                  </a:moveTo>
                  <a:cubicBezTo>
                    <a:pt x="11140" y="1866"/>
                    <a:pt x="11080" y="2099"/>
                    <a:pt x="11041" y="2340"/>
                  </a:cubicBezTo>
                </a:path>
                <a:path w="21600" h="21600" fill="none" extrusionOk="0">
                  <a:moveTo>
                    <a:pt x="7645" y="3276"/>
                  </a:moveTo>
                  <a:cubicBezTo>
                    <a:pt x="7449" y="3016"/>
                    <a:pt x="7231" y="2790"/>
                    <a:pt x="6995" y="2602"/>
                  </a:cubicBezTo>
                </a:path>
                <a:path w="21600" h="21600" fill="none" extrusionOk="0">
                  <a:moveTo>
                    <a:pt x="1942" y="7186"/>
                  </a:moveTo>
                  <a:cubicBezTo>
                    <a:pt x="1966" y="7426"/>
                    <a:pt x="2004" y="7663"/>
                    <a:pt x="2056" y="7895"/>
                  </a:cubicBezTo>
                </a:path>
              </a:pathLst>
            </a:custGeom>
            <a:solidFill>
              <a:srgbClr val="C0C0C0"/>
            </a:solidFill>
            <a:ln w="3175">
              <a:solidFill>
                <a:srgbClr val="333333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 lIns="0" rIns="0"/>
            <a:lstStyle/>
            <a:p>
              <a:pPr>
                <a:defRPr/>
              </a:pPr>
              <a:endParaRPr lang="id-ID" sz="1671"/>
            </a:p>
          </p:txBody>
        </p:sp>
        <p:sp>
          <p:nvSpPr>
            <p:cNvPr id="33" name="Text Box 11"/>
            <p:cNvSpPr txBox="1">
              <a:spLocks noChangeArrowheads="1"/>
            </p:cNvSpPr>
            <p:nvPr/>
          </p:nvSpPr>
          <p:spPr bwMode="auto">
            <a:xfrm>
              <a:off x="800" y="1440"/>
              <a:ext cx="1052" cy="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hangingPunct="0">
                <a:lnSpc>
                  <a:spcPct val="80000"/>
                </a:lnSpc>
                <a:buClr>
                  <a:srgbClr val="000000"/>
                </a:buClr>
                <a:buSzPct val="45000"/>
                <a:buFont typeface="StarSymbol" charset="0"/>
                <a:buNone/>
              </a:pPr>
              <a:r>
                <a:rPr lang="id-ID" sz="752" b="1">
                  <a:solidFill>
                    <a:srgbClr val="0000FF"/>
                  </a:solidFill>
                </a:rPr>
                <a:t>Jaminan </a:t>
              </a:r>
            </a:p>
            <a:p>
              <a:pPr algn="ctr" hangingPunct="0">
                <a:lnSpc>
                  <a:spcPct val="80000"/>
                </a:lnSpc>
                <a:buClr>
                  <a:srgbClr val="000000"/>
                </a:buClr>
                <a:buSzPct val="45000"/>
                <a:buFont typeface="StarSymbol" charset="0"/>
                <a:buNone/>
              </a:pPr>
              <a:r>
                <a:rPr lang="id-ID" sz="752" b="1">
                  <a:solidFill>
                    <a:srgbClr val="0000FF"/>
                  </a:solidFill>
                </a:rPr>
                <a:t>Keamanan</a:t>
              </a:r>
              <a:endParaRPr lang="id-ID" sz="752" b="1">
                <a:solidFill>
                  <a:srgbClr val="0000FF"/>
                </a:solidFill>
                <a:latin typeface="Arial Narrow" pitchFamily="34" charset="0"/>
              </a:endParaRPr>
            </a:p>
          </p:txBody>
        </p:sp>
      </p:grpSp>
      <p:pic>
        <p:nvPicPr>
          <p:cNvPr id="34" name="Picture 27" descr="greenorb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729367" y="1298584"/>
            <a:ext cx="279823" cy="245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dist="17961" dir="2700000" algn="ctr" rotWithShape="0">
              <a:schemeClr val="tx1">
                <a:alpha val="74998"/>
              </a:schemeClr>
            </a:outerShdw>
          </a:effectLst>
        </p:spPr>
      </p:pic>
      <p:grpSp>
        <p:nvGrpSpPr>
          <p:cNvPr id="35" name="Group 9"/>
          <p:cNvGrpSpPr>
            <a:grpSpLocks/>
          </p:cNvGrpSpPr>
          <p:nvPr/>
        </p:nvGrpSpPr>
        <p:grpSpPr bwMode="auto">
          <a:xfrm>
            <a:off x="3643733" y="5501464"/>
            <a:ext cx="712157" cy="393875"/>
            <a:chOff x="714" y="1341"/>
            <a:chExt cx="1224" cy="492"/>
          </a:xfrm>
        </p:grpSpPr>
        <p:sp>
          <p:nvSpPr>
            <p:cNvPr id="36" name="Cloud"/>
            <p:cNvSpPr>
              <a:spLocks noChangeAspect="1" noEditPoints="1" noChangeArrowheads="1"/>
            </p:cNvSpPr>
            <p:nvPr/>
          </p:nvSpPr>
          <p:spPr bwMode="auto">
            <a:xfrm>
              <a:off x="714" y="1341"/>
              <a:ext cx="1224" cy="49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82 w 21600"/>
                <a:gd name="T13" fmla="*/ 3249 h 21600"/>
                <a:gd name="T14" fmla="*/ 17082 w 21600"/>
                <a:gd name="T15" fmla="*/ 1734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 extrusionOk="0">
                  <a:moveTo>
                    <a:pt x="1949" y="7180"/>
                  </a:moveTo>
                  <a:cubicBezTo>
                    <a:pt x="841" y="7336"/>
                    <a:pt x="0" y="8613"/>
                    <a:pt x="0" y="10137"/>
                  </a:cubicBezTo>
                  <a:cubicBezTo>
                    <a:pt x="-1" y="11192"/>
                    <a:pt x="409" y="12169"/>
                    <a:pt x="1074" y="12702"/>
                  </a:cubicBezTo>
                  <a:lnTo>
                    <a:pt x="1063" y="12668"/>
                  </a:lnTo>
                  <a:cubicBezTo>
                    <a:pt x="685" y="13217"/>
                    <a:pt x="475" y="13940"/>
                    <a:pt x="475" y="14690"/>
                  </a:cubicBezTo>
                  <a:cubicBezTo>
                    <a:pt x="475" y="16325"/>
                    <a:pt x="1451" y="17650"/>
                    <a:pt x="2655" y="17650"/>
                  </a:cubicBezTo>
                  <a:cubicBezTo>
                    <a:pt x="2739" y="17650"/>
                    <a:pt x="2824" y="17643"/>
                    <a:pt x="2909" y="17629"/>
                  </a:cubicBezTo>
                  <a:lnTo>
                    <a:pt x="2897" y="17649"/>
                  </a:lnTo>
                  <a:cubicBezTo>
                    <a:pt x="3585" y="19288"/>
                    <a:pt x="4863" y="20300"/>
                    <a:pt x="6247" y="20300"/>
                  </a:cubicBezTo>
                  <a:cubicBezTo>
                    <a:pt x="6947" y="20299"/>
                    <a:pt x="7635" y="20039"/>
                    <a:pt x="8235" y="19546"/>
                  </a:cubicBezTo>
                  <a:lnTo>
                    <a:pt x="8229" y="19550"/>
                  </a:lnTo>
                  <a:cubicBezTo>
                    <a:pt x="8855" y="20829"/>
                    <a:pt x="9908" y="21597"/>
                    <a:pt x="11036" y="21597"/>
                  </a:cubicBezTo>
                  <a:cubicBezTo>
                    <a:pt x="12523" y="21596"/>
                    <a:pt x="13836" y="20267"/>
                    <a:pt x="14267" y="18324"/>
                  </a:cubicBezTo>
                  <a:lnTo>
                    <a:pt x="14270" y="18350"/>
                  </a:lnTo>
                  <a:cubicBezTo>
                    <a:pt x="14730" y="18740"/>
                    <a:pt x="15260" y="18947"/>
                    <a:pt x="15802" y="18947"/>
                  </a:cubicBezTo>
                  <a:cubicBezTo>
                    <a:pt x="17390" y="18946"/>
                    <a:pt x="18682" y="17205"/>
                    <a:pt x="18694" y="15045"/>
                  </a:cubicBezTo>
                  <a:lnTo>
                    <a:pt x="18689" y="15035"/>
                  </a:lnTo>
                  <a:cubicBezTo>
                    <a:pt x="20357" y="14710"/>
                    <a:pt x="21597" y="12765"/>
                    <a:pt x="21597" y="10472"/>
                  </a:cubicBezTo>
                  <a:cubicBezTo>
                    <a:pt x="21597" y="9456"/>
                    <a:pt x="21350" y="8469"/>
                    <a:pt x="20896" y="7663"/>
                  </a:cubicBezTo>
                  <a:lnTo>
                    <a:pt x="20889" y="7661"/>
                  </a:lnTo>
                  <a:cubicBezTo>
                    <a:pt x="21031" y="7208"/>
                    <a:pt x="21105" y="6721"/>
                    <a:pt x="21105" y="6228"/>
                  </a:cubicBezTo>
                  <a:cubicBezTo>
                    <a:pt x="21105" y="4588"/>
                    <a:pt x="20299" y="3150"/>
                    <a:pt x="19139" y="2719"/>
                  </a:cubicBezTo>
                  <a:lnTo>
                    <a:pt x="19148" y="2712"/>
                  </a:lnTo>
                  <a:cubicBezTo>
                    <a:pt x="18940" y="1142"/>
                    <a:pt x="17933" y="0"/>
                    <a:pt x="16758" y="0"/>
                  </a:cubicBezTo>
                  <a:cubicBezTo>
                    <a:pt x="16044" y="-1"/>
                    <a:pt x="15367" y="426"/>
                    <a:pt x="14905" y="1165"/>
                  </a:cubicBezTo>
                  <a:lnTo>
                    <a:pt x="14909" y="1170"/>
                  </a:lnTo>
                  <a:cubicBezTo>
                    <a:pt x="14497" y="432"/>
                    <a:pt x="13855" y="0"/>
                    <a:pt x="13174" y="0"/>
                  </a:cubicBezTo>
                  <a:cubicBezTo>
                    <a:pt x="12347" y="-1"/>
                    <a:pt x="11590" y="637"/>
                    <a:pt x="11221" y="1645"/>
                  </a:cubicBezTo>
                  <a:lnTo>
                    <a:pt x="11229" y="1694"/>
                  </a:lnTo>
                  <a:cubicBezTo>
                    <a:pt x="10730" y="1024"/>
                    <a:pt x="10058" y="650"/>
                    <a:pt x="9358" y="650"/>
                  </a:cubicBezTo>
                  <a:cubicBezTo>
                    <a:pt x="8372" y="649"/>
                    <a:pt x="7466" y="1391"/>
                    <a:pt x="7003" y="2578"/>
                  </a:cubicBezTo>
                  <a:lnTo>
                    <a:pt x="6995" y="2602"/>
                  </a:lnTo>
                  <a:cubicBezTo>
                    <a:pt x="6477" y="2189"/>
                    <a:pt x="5888" y="1972"/>
                    <a:pt x="5288" y="1972"/>
                  </a:cubicBezTo>
                  <a:cubicBezTo>
                    <a:pt x="3423" y="1972"/>
                    <a:pt x="1912" y="4029"/>
                    <a:pt x="1912" y="6567"/>
                  </a:cubicBezTo>
                  <a:cubicBezTo>
                    <a:pt x="1911" y="6774"/>
                    <a:pt x="1922" y="6981"/>
                    <a:pt x="1942" y="7186"/>
                  </a:cubicBezTo>
                  <a:lnTo>
                    <a:pt x="1949" y="7180"/>
                  </a:lnTo>
                  <a:close/>
                </a:path>
                <a:path w="21600" h="21600" fill="none" extrusionOk="0">
                  <a:moveTo>
                    <a:pt x="1074" y="12702"/>
                  </a:moveTo>
                  <a:cubicBezTo>
                    <a:pt x="1407" y="12969"/>
                    <a:pt x="1786" y="13110"/>
                    <a:pt x="2172" y="13110"/>
                  </a:cubicBezTo>
                  <a:cubicBezTo>
                    <a:pt x="2228" y="13109"/>
                    <a:pt x="2285" y="13107"/>
                    <a:pt x="2341" y="13101"/>
                  </a:cubicBezTo>
                </a:path>
                <a:path w="21600" h="21600" fill="none" extrusionOk="0">
                  <a:moveTo>
                    <a:pt x="2909" y="17629"/>
                  </a:moveTo>
                  <a:cubicBezTo>
                    <a:pt x="3099" y="17599"/>
                    <a:pt x="3285" y="17535"/>
                    <a:pt x="3463" y="17439"/>
                  </a:cubicBezTo>
                </a:path>
                <a:path w="21600" h="21600" fill="none" extrusionOk="0">
                  <a:moveTo>
                    <a:pt x="7895" y="18680"/>
                  </a:moveTo>
                  <a:cubicBezTo>
                    <a:pt x="7983" y="18985"/>
                    <a:pt x="8095" y="19277"/>
                    <a:pt x="8229" y="19550"/>
                  </a:cubicBezTo>
                </a:path>
                <a:path w="21600" h="21600" fill="none" extrusionOk="0">
                  <a:moveTo>
                    <a:pt x="14267" y="18324"/>
                  </a:moveTo>
                  <a:cubicBezTo>
                    <a:pt x="14336" y="18013"/>
                    <a:pt x="14380" y="17693"/>
                    <a:pt x="14400" y="17370"/>
                  </a:cubicBezTo>
                </a:path>
                <a:path w="21600" h="21600" fill="none" extrusionOk="0">
                  <a:moveTo>
                    <a:pt x="18694" y="15045"/>
                  </a:moveTo>
                  <a:cubicBezTo>
                    <a:pt x="18694" y="15034"/>
                    <a:pt x="18695" y="15024"/>
                    <a:pt x="18695" y="15013"/>
                  </a:cubicBezTo>
                  <a:cubicBezTo>
                    <a:pt x="18695" y="13508"/>
                    <a:pt x="18063" y="12136"/>
                    <a:pt x="17069" y="11477"/>
                  </a:cubicBezTo>
                </a:path>
                <a:path w="21600" h="21600" fill="none" extrusionOk="0">
                  <a:moveTo>
                    <a:pt x="20165" y="8999"/>
                  </a:moveTo>
                  <a:cubicBezTo>
                    <a:pt x="20479" y="8635"/>
                    <a:pt x="20726" y="8177"/>
                    <a:pt x="20889" y="7661"/>
                  </a:cubicBezTo>
                </a:path>
                <a:path w="21600" h="21600" fill="none" extrusionOk="0">
                  <a:moveTo>
                    <a:pt x="19186" y="3344"/>
                  </a:moveTo>
                  <a:cubicBezTo>
                    <a:pt x="19186" y="3328"/>
                    <a:pt x="19187" y="3313"/>
                    <a:pt x="19187" y="3297"/>
                  </a:cubicBezTo>
                  <a:cubicBezTo>
                    <a:pt x="19187" y="3101"/>
                    <a:pt x="19174" y="2905"/>
                    <a:pt x="19148" y="2712"/>
                  </a:cubicBezTo>
                </a:path>
                <a:path w="21600" h="21600" fill="none" extrusionOk="0">
                  <a:moveTo>
                    <a:pt x="14905" y="1165"/>
                  </a:moveTo>
                  <a:cubicBezTo>
                    <a:pt x="14754" y="1408"/>
                    <a:pt x="14629" y="1679"/>
                    <a:pt x="14535" y="1971"/>
                  </a:cubicBezTo>
                </a:path>
                <a:path w="21600" h="21600" fill="none" extrusionOk="0">
                  <a:moveTo>
                    <a:pt x="11221" y="1645"/>
                  </a:moveTo>
                  <a:cubicBezTo>
                    <a:pt x="11140" y="1866"/>
                    <a:pt x="11080" y="2099"/>
                    <a:pt x="11041" y="2340"/>
                  </a:cubicBezTo>
                </a:path>
                <a:path w="21600" h="21600" fill="none" extrusionOk="0">
                  <a:moveTo>
                    <a:pt x="7645" y="3276"/>
                  </a:moveTo>
                  <a:cubicBezTo>
                    <a:pt x="7449" y="3016"/>
                    <a:pt x="7231" y="2790"/>
                    <a:pt x="6995" y="2602"/>
                  </a:cubicBezTo>
                </a:path>
                <a:path w="21600" h="21600" fill="none" extrusionOk="0">
                  <a:moveTo>
                    <a:pt x="1942" y="7186"/>
                  </a:moveTo>
                  <a:cubicBezTo>
                    <a:pt x="1966" y="7426"/>
                    <a:pt x="2004" y="7663"/>
                    <a:pt x="2056" y="7895"/>
                  </a:cubicBezTo>
                </a:path>
              </a:pathLst>
            </a:custGeom>
            <a:solidFill>
              <a:srgbClr val="C0C0C0"/>
            </a:solidFill>
            <a:ln w="3175">
              <a:solidFill>
                <a:srgbClr val="333333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 lIns="0" rIns="0"/>
            <a:lstStyle/>
            <a:p>
              <a:pPr>
                <a:defRPr/>
              </a:pPr>
              <a:endParaRPr lang="id-ID" sz="1671"/>
            </a:p>
          </p:txBody>
        </p:sp>
        <p:sp>
          <p:nvSpPr>
            <p:cNvPr id="37" name="Text Box 11"/>
            <p:cNvSpPr txBox="1">
              <a:spLocks noChangeArrowheads="1"/>
            </p:cNvSpPr>
            <p:nvPr/>
          </p:nvSpPr>
          <p:spPr bwMode="auto">
            <a:xfrm>
              <a:off x="801" y="1440"/>
              <a:ext cx="1050" cy="3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hangingPunct="0">
                <a:lnSpc>
                  <a:spcPct val="80000"/>
                </a:lnSpc>
                <a:buClr>
                  <a:srgbClr val="000000"/>
                </a:buClr>
                <a:buSzPct val="45000"/>
                <a:buFont typeface="StarSymbol" charset="0"/>
                <a:buNone/>
              </a:pPr>
              <a:r>
                <a:rPr lang="id-ID" sz="752" b="1">
                  <a:solidFill>
                    <a:srgbClr val="0000FF"/>
                  </a:solidFill>
                </a:rPr>
                <a:t>Jaminan </a:t>
              </a:r>
            </a:p>
            <a:p>
              <a:pPr algn="ctr" hangingPunct="0">
                <a:lnSpc>
                  <a:spcPct val="80000"/>
                </a:lnSpc>
                <a:buClr>
                  <a:srgbClr val="000000"/>
                </a:buClr>
                <a:buSzPct val="45000"/>
                <a:buFont typeface="StarSymbol" charset="0"/>
                <a:buNone/>
              </a:pPr>
              <a:r>
                <a:rPr lang="id-ID" sz="752" b="1">
                  <a:solidFill>
                    <a:srgbClr val="0000FF"/>
                  </a:solidFill>
                </a:rPr>
                <a:t>Keamanan</a:t>
              </a:r>
              <a:endParaRPr lang="id-ID" sz="752" b="1">
                <a:solidFill>
                  <a:srgbClr val="0000FF"/>
                </a:solidFill>
                <a:latin typeface="Arial Narrow" pitchFamily="34" charset="0"/>
              </a:endParaRPr>
            </a:p>
          </p:txBody>
        </p:sp>
      </p:grpSp>
      <p:grpSp>
        <p:nvGrpSpPr>
          <p:cNvPr id="38" name="Group 9"/>
          <p:cNvGrpSpPr>
            <a:grpSpLocks/>
          </p:cNvGrpSpPr>
          <p:nvPr/>
        </p:nvGrpSpPr>
        <p:grpSpPr bwMode="auto">
          <a:xfrm>
            <a:off x="7346829" y="2313157"/>
            <a:ext cx="712158" cy="393875"/>
            <a:chOff x="714" y="1341"/>
            <a:chExt cx="1224" cy="492"/>
          </a:xfrm>
        </p:grpSpPr>
        <p:sp>
          <p:nvSpPr>
            <p:cNvPr id="39" name="Cloud"/>
            <p:cNvSpPr>
              <a:spLocks noChangeAspect="1" noEditPoints="1" noChangeArrowheads="1"/>
            </p:cNvSpPr>
            <p:nvPr/>
          </p:nvSpPr>
          <p:spPr bwMode="auto">
            <a:xfrm>
              <a:off x="714" y="1341"/>
              <a:ext cx="1224" cy="49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82 w 21600"/>
                <a:gd name="T13" fmla="*/ 3249 h 21600"/>
                <a:gd name="T14" fmla="*/ 17082 w 21600"/>
                <a:gd name="T15" fmla="*/ 1734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 extrusionOk="0">
                  <a:moveTo>
                    <a:pt x="1949" y="7180"/>
                  </a:moveTo>
                  <a:cubicBezTo>
                    <a:pt x="841" y="7336"/>
                    <a:pt x="0" y="8613"/>
                    <a:pt x="0" y="10137"/>
                  </a:cubicBezTo>
                  <a:cubicBezTo>
                    <a:pt x="-1" y="11192"/>
                    <a:pt x="409" y="12169"/>
                    <a:pt x="1074" y="12702"/>
                  </a:cubicBezTo>
                  <a:lnTo>
                    <a:pt x="1063" y="12668"/>
                  </a:lnTo>
                  <a:cubicBezTo>
                    <a:pt x="685" y="13217"/>
                    <a:pt x="475" y="13940"/>
                    <a:pt x="475" y="14690"/>
                  </a:cubicBezTo>
                  <a:cubicBezTo>
                    <a:pt x="475" y="16325"/>
                    <a:pt x="1451" y="17650"/>
                    <a:pt x="2655" y="17650"/>
                  </a:cubicBezTo>
                  <a:cubicBezTo>
                    <a:pt x="2739" y="17650"/>
                    <a:pt x="2824" y="17643"/>
                    <a:pt x="2909" y="17629"/>
                  </a:cubicBezTo>
                  <a:lnTo>
                    <a:pt x="2897" y="17649"/>
                  </a:lnTo>
                  <a:cubicBezTo>
                    <a:pt x="3585" y="19288"/>
                    <a:pt x="4863" y="20300"/>
                    <a:pt x="6247" y="20300"/>
                  </a:cubicBezTo>
                  <a:cubicBezTo>
                    <a:pt x="6947" y="20299"/>
                    <a:pt x="7635" y="20039"/>
                    <a:pt x="8235" y="19546"/>
                  </a:cubicBezTo>
                  <a:lnTo>
                    <a:pt x="8229" y="19550"/>
                  </a:lnTo>
                  <a:cubicBezTo>
                    <a:pt x="8855" y="20829"/>
                    <a:pt x="9908" y="21597"/>
                    <a:pt x="11036" y="21597"/>
                  </a:cubicBezTo>
                  <a:cubicBezTo>
                    <a:pt x="12523" y="21596"/>
                    <a:pt x="13836" y="20267"/>
                    <a:pt x="14267" y="18324"/>
                  </a:cubicBezTo>
                  <a:lnTo>
                    <a:pt x="14270" y="18350"/>
                  </a:lnTo>
                  <a:cubicBezTo>
                    <a:pt x="14730" y="18740"/>
                    <a:pt x="15260" y="18947"/>
                    <a:pt x="15802" y="18947"/>
                  </a:cubicBezTo>
                  <a:cubicBezTo>
                    <a:pt x="17390" y="18946"/>
                    <a:pt x="18682" y="17205"/>
                    <a:pt x="18694" y="15045"/>
                  </a:cubicBezTo>
                  <a:lnTo>
                    <a:pt x="18689" y="15035"/>
                  </a:lnTo>
                  <a:cubicBezTo>
                    <a:pt x="20357" y="14710"/>
                    <a:pt x="21597" y="12765"/>
                    <a:pt x="21597" y="10472"/>
                  </a:cubicBezTo>
                  <a:cubicBezTo>
                    <a:pt x="21597" y="9456"/>
                    <a:pt x="21350" y="8469"/>
                    <a:pt x="20896" y="7663"/>
                  </a:cubicBezTo>
                  <a:lnTo>
                    <a:pt x="20889" y="7661"/>
                  </a:lnTo>
                  <a:cubicBezTo>
                    <a:pt x="21031" y="7208"/>
                    <a:pt x="21105" y="6721"/>
                    <a:pt x="21105" y="6228"/>
                  </a:cubicBezTo>
                  <a:cubicBezTo>
                    <a:pt x="21105" y="4588"/>
                    <a:pt x="20299" y="3150"/>
                    <a:pt x="19139" y="2719"/>
                  </a:cubicBezTo>
                  <a:lnTo>
                    <a:pt x="19148" y="2712"/>
                  </a:lnTo>
                  <a:cubicBezTo>
                    <a:pt x="18940" y="1142"/>
                    <a:pt x="17933" y="0"/>
                    <a:pt x="16758" y="0"/>
                  </a:cubicBezTo>
                  <a:cubicBezTo>
                    <a:pt x="16044" y="-1"/>
                    <a:pt x="15367" y="426"/>
                    <a:pt x="14905" y="1165"/>
                  </a:cubicBezTo>
                  <a:lnTo>
                    <a:pt x="14909" y="1170"/>
                  </a:lnTo>
                  <a:cubicBezTo>
                    <a:pt x="14497" y="432"/>
                    <a:pt x="13855" y="0"/>
                    <a:pt x="13174" y="0"/>
                  </a:cubicBezTo>
                  <a:cubicBezTo>
                    <a:pt x="12347" y="-1"/>
                    <a:pt x="11590" y="637"/>
                    <a:pt x="11221" y="1645"/>
                  </a:cubicBezTo>
                  <a:lnTo>
                    <a:pt x="11229" y="1694"/>
                  </a:lnTo>
                  <a:cubicBezTo>
                    <a:pt x="10730" y="1024"/>
                    <a:pt x="10058" y="650"/>
                    <a:pt x="9358" y="650"/>
                  </a:cubicBezTo>
                  <a:cubicBezTo>
                    <a:pt x="8372" y="649"/>
                    <a:pt x="7466" y="1391"/>
                    <a:pt x="7003" y="2578"/>
                  </a:cubicBezTo>
                  <a:lnTo>
                    <a:pt x="6995" y="2602"/>
                  </a:lnTo>
                  <a:cubicBezTo>
                    <a:pt x="6477" y="2189"/>
                    <a:pt x="5888" y="1972"/>
                    <a:pt x="5288" y="1972"/>
                  </a:cubicBezTo>
                  <a:cubicBezTo>
                    <a:pt x="3423" y="1972"/>
                    <a:pt x="1912" y="4029"/>
                    <a:pt x="1912" y="6567"/>
                  </a:cubicBezTo>
                  <a:cubicBezTo>
                    <a:pt x="1911" y="6774"/>
                    <a:pt x="1922" y="6981"/>
                    <a:pt x="1942" y="7186"/>
                  </a:cubicBezTo>
                  <a:lnTo>
                    <a:pt x="1949" y="7180"/>
                  </a:lnTo>
                  <a:close/>
                </a:path>
                <a:path w="21600" h="21600" fill="none" extrusionOk="0">
                  <a:moveTo>
                    <a:pt x="1074" y="12702"/>
                  </a:moveTo>
                  <a:cubicBezTo>
                    <a:pt x="1407" y="12969"/>
                    <a:pt x="1786" y="13110"/>
                    <a:pt x="2172" y="13110"/>
                  </a:cubicBezTo>
                  <a:cubicBezTo>
                    <a:pt x="2228" y="13109"/>
                    <a:pt x="2285" y="13107"/>
                    <a:pt x="2341" y="13101"/>
                  </a:cubicBezTo>
                </a:path>
                <a:path w="21600" h="21600" fill="none" extrusionOk="0">
                  <a:moveTo>
                    <a:pt x="2909" y="17629"/>
                  </a:moveTo>
                  <a:cubicBezTo>
                    <a:pt x="3099" y="17599"/>
                    <a:pt x="3285" y="17535"/>
                    <a:pt x="3463" y="17439"/>
                  </a:cubicBezTo>
                </a:path>
                <a:path w="21600" h="21600" fill="none" extrusionOk="0">
                  <a:moveTo>
                    <a:pt x="7895" y="18680"/>
                  </a:moveTo>
                  <a:cubicBezTo>
                    <a:pt x="7983" y="18985"/>
                    <a:pt x="8095" y="19277"/>
                    <a:pt x="8229" y="19550"/>
                  </a:cubicBezTo>
                </a:path>
                <a:path w="21600" h="21600" fill="none" extrusionOk="0">
                  <a:moveTo>
                    <a:pt x="14267" y="18324"/>
                  </a:moveTo>
                  <a:cubicBezTo>
                    <a:pt x="14336" y="18013"/>
                    <a:pt x="14380" y="17693"/>
                    <a:pt x="14400" y="17370"/>
                  </a:cubicBezTo>
                </a:path>
                <a:path w="21600" h="21600" fill="none" extrusionOk="0">
                  <a:moveTo>
                    <a:pt x="18694" y="15045"/>
                  </a:moveTo>
                  <a:cubicBezTo>
                    <a:pt x="18694" y="15034"/>
                    <a:pt x="18695" y="15024"/>
                    <a:pt x="18695" y="15013"/>
                  </a:cubicBezTo>
                  <a:cubicBezTo>
                    <a:pt x="18695" y="13508"/>
                    <a:pt x="18063" y="12136"/>
                    <a:pt x="17069" y="11477"/>
                  </a:cubicBezTo>
                </a:path>
                <a:path w="21600" h="21600" fill="none" extrusionOk="0">
                  <a:moveTo>
                    <a:pt x="20165" y="8999"/>
                  </a:moveTo>
                  <a:cubicBezTo>
                    <a:pt x="20479" y="8635"/>
                    <a:pt x="20726" y="8177"/>
                    <a:pt x="20889" y="7661"/>
                  </a:cubicBezTo>
                </a:path>
                <a:path w="21600" h="21600" fill="none" extrusionOk="0">
                  <a:moveTo>
                    <a:pt x="19186" y="3344"/>
                  </a:moveTo>
                  <a:cubicBezTo>
                    <a:pt x="19186" y="3328"/>
                    <a:pt x="19187" y="3313"/>
                    <a:pt x="19187" y="3297"/>
                  </a:cubicBezTo>
                  <a:cubicBezTo>
                    <a:pt x="19187" y="3101"/>
                    <a:pt x="19174" y="2905"/>
                    <a:pt x="19148" y="2712"/>
                  </a:cubicBezTo>
                </a:path>
                <a:path w="21600" h="21600" fill="none" extrusionOk="0">
                  <a:moveTo>
                    <a:pt x="14905" y="1165"/>
                  </a:moveTo>
                  <a:cubicBezTo>
                    <a:pt x="14754" y="1408"/>
                    <a:pt x="14629" y="1679"/>
                    <a:pt x="14535" y="1971"/>
                  </a:cubicBezTo>
                </a:path>
                <a:path w="21600" h="21600" fill="none" extrusionOk="0">
                  <a:moveTo>
                    <a:pt x="11221" y="1645"/>
                  </a:moveTo>
                  <a:cubicBezTo>
                    <a:pt x="11140" y="1866"/>
                    <a:pt x="11080" y="2099"/>
                    <a:pt x="11041" y="2340"/>
                  </a:cubicBezTo>
                </a:path>
                <a:path w="21600" h="21600" fill="none" extrusionOk="0">
                  <a:moveTo>
                    <a:pt x="7645" y="3276"/>
                  </a:moveTo>
                  <a:cubicBezTo>
                    <a:pt x="7449" y="3016"/>
                    <a:pt x="7231" y="2790"/>
                    <a:pt x="6995" y="2602"/>
                  </a:cubicBezTo>
                </a:path>
                <a:path w="21600" h="21600" fill="none" extrusionOk="0">
                  <a:moveTo>
                    <a:pt x="1942" y="7186"/>
                  </a:moveTo>
                  <a:cubicBezTo>
                    <a:pt x="1966" y="7426"/>
                    <a:pt x="2004" y="7663"/>
                    <a:pt x="2056" y="7895"/>
                  </a:cubicBezTo>
                </a:path>
              </a:pathLst>
            </a:custGeom>
            <a:solidFill>
              <a:srgbClr val="C0C0C0"/>
            </a:solidFill>
            <a:ln w="3175">
              <a:solidFill>
                <a:srgbClr val="333333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 lIns="0" rIns="0"/>
            <a:lstStyle/>
            <a:p>
              <a:pPr>
                <a:defRPr/>
              </a:pPr>
              <a:endParaRPr lang="id-ID" sz="1671"/>
            </a:p>
          </p:txBody>
        </p:sp>
        <p:sp>
          <p:nvSpPr>
            <p:cNvPr id="40" name="Text Box 11"/>
            <p:cNvSpPr txBox="1">
              <a:spLocks noChangeArrowheads="1"/>
            </p:cNvSpPr>
            <p:nvPr/>
          </p:nvSpPr>
          <p:spPr bwMode="auto">
            <a:xfrm>
              <a:off x="801" y="1440"/>
              <a:ext cx="1050" cy="3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hangingPunct="0">
                <a:lnSpc>
                  <a:spcPct val="80000"/>
                </a:lnSpc>
                <a:buClr>
                  <a:srgbClr val="000000"/>
                </a:buClr>
                <a:buSzPct val="45000"/>
                <a:buFont typeface="StarSymbol" charset="0"/>
                <a:buNone/>
              </a:pPr>
              <a:r>
                <a:rPr lang="id-ID" sz="752" b="1">
                  <a:solidFill>
                    <a:srgbClr val="0000FF"/>
                  </a:solidFill>
                </a:rPr>
                <a:t>Jaminan </a:t>
              </a:r>
            </a:p>
            <a:p>
              <a:pPr algn="ctr" hangingPunct="0">
                <a:lnSpc>
                  <a:spcPct val="80000"/>
                </a:lnSpc>
                <a:buClr>
                  <a:srgbClr val="000000"/>
                </a:buClr>
                <a:buSzPct val="45000"/>
                <a:buFont typeface="StarSymbol" charset="0"/>
                <a:buNone/>
              </a:pPr>
              <a:r>
                <a:rPr lang="id-ID" sz="752" b="1">
                  <a:solidFill>
                    <a:srgbClr val="0000FF"/>
                  </a:solidFill>
                </a:rPr>
                <a:t>Keamanan</a:t>
              </a:r>
              <a:endParaRPr lang="id-ID" sz="752" b="1">
                <a:solidFill>
                  <a:srgbClr val="0000FF"/>
                </a:solidFill>
                <a:latin typeface="Arial Narrow" pitchFamily="34" charset="0"/>
              </a:endParaRPr>
            </a:p>
          </p:txBody>
        </p:sp>
      </p:grpSp>
      <p:pic>
        <p:nvPicPr>
          <p:cNvPr id="41" name="Picture 27" descr="greenorb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206917" y="2388550"/>
            <a:ext cx="279824" cy="245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dist="17961" dir="2700000" algn="ctr" rotWithShape="0">
              <a:schemeClr val="tx1">
                <a:alpha val="74998"/>
              </a:schemeClr>
            </a:outerShdw>
          </a:effectLst>
        </p:spPr>
      </p:pic>
      <p:grpSp>
        <p:nvGrpSpPr>
          <p:cNvPr id="42" name="Group 9"/>
          <p:cNvGrpSpPr>
            <a:grpSpLocks/>
          </p:cNvGrpSpPr>
          <p:nvPr/>
        </p:nvGrpSpPr>
        <p:grpSpPr bwMode="auto">
          <a:xfrm>
            <a:off x="1151823" y="4714534"/>
            <a:ext cx="710832" cy="393875"/>
            <a:chOff x="714" y="1341"/>
            <a:chExt cx="1224" cy="492"/>
          </a:xfrm>
        </p:grpSpPr>
        <p:sp>
          <p:nvSpPr>
            <p:cNvPr id="43" name="Cloud"/>
            <p:cNvSpPr>
              <a:spLocks noChangeAspect="1" noEditPoints="1" noChangeArrowheads="1"/>
            </p:cNvSpPr>
            <p:nvPr/>
          </p:nvSpPr>
          <p:spPr bwMode="auto">
            <a:xfrm>
              <a:off x="714" y="1341"/>
              <a:ext cx="1224" cy="49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82 w 21600"/>
                <a:gd name="T13" fmla="*/ 3249 h 21600"/>
                <a:gd name="T14" fmla="*/ 17082 w 21600"/>
                <a:gd name="T15" fmla="*/ 1734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 extrusionOk="0">
                  <a:moveTo>
                    <a:pt x="1949" y="7180"/>
                  </a:moveTo>
                  <a:cubicBezTo>
                    <a:pt x="841" y="7336"/>
                    <a:pt x="0" y="8613"/>
                    <a:pt x="0" y="10137"/>
                  </a:cubicBezTo>
                  <a:cubicBezTo>
                    <a:pt x="-1" y="11192"/>
                    <a:pt x="409" y="12169"/>
                    <a:pt x="1074" y="12702"/>
                  </a:cubicBezTo>
                  <a:lnTo>
                    <a:pt x="1063" y="12668"/>
                  </a:lnTo>
                  <a:cubicBezTo>
                    <a:pt x="685" y="13217"/>
                    <a:pt x="475" y="13940"/>
                    <a:pt x="475" y="14690"/>
                  </a:cubicBezTo>
                  <a:cubicBezTo>
                    <a:pt x="475" y="16325"/>
                    <a:pt x="1451" y="17650"/>
                    <a:pt x="2655" y="17650"/>
                  </a:cubicBezTo>
                  <a:cubicBezTo>
                    <a:pt x="2739" y="17650"/>
                    <a:pt x="2824" y="17643"/>
                    <a:pt x="2909" y="17629"/>
                  </a:cubicBezTo>
                  <a:lnTo>
                    <a:pt x="2897" y="17649"/>
                  </a:lnTo>
                  <a:cubicBezTo>
                    <a:pt x="3585" y="19288"/>
                    <a:pt x="4863" y="20300"/>
                    <a:pt x="6247" y="20300"/>
                  </a:cubicBezTo>
                  <a:cubicBezTo>
                    <a:pt x="6947" y="20299"/>
                    <a:pt x="7635" y="20039"/>
                    <a:pt x="8235" y="19546"/>
                  </a:cubicBezTo>
                  <a:lnTo>
                    <a:pt x="8229" y="19550"/>
                  </a:lnTo>
                  <a:cubicBezTo>
                    <a:pt x="8855" y="20829"/>
                    <a:pt x="9908" y="21597"/>
                    <a:pt x="11036" y="21597"/>
                  </a:cubicBezTo>
                  <a:cubicBezTo>
                    <a:pt x="12523" y="21596"/>
                    <a:pt x="13836" y="20267"/>
                    <a:pt x="14267" y="18324"/>
                  </a:cubicBezTo>
                  <a:lnTo>
                    <a:pt x="14270" y="18350"/>
                  </a:lnTo>
                  <a:cubicBezTo>
                    <a:pt x="14730" y="18740"/>
                    <a:pt x="15260" y="18947"/>
                    <a:pt x="15802" y="18947"/>
                  </a:cubicBezTo>
                  <a:cubicBezTo>
                    <a:pt x="17390" y="18946"/>
                    <a:pt x="18682" y="17205"/>
                    <a:pt x="18694" y="15045"/>
                  </a:cubicBezTo>
                  <a:lnTo>
                    <a:pt x="18689" y="15035"/>
                  </a:lnTo>
                  <a:cubicBezTo>
                    <a:pt x="20357" y="14710"/>
                    <a:pt x="21597" y="12765"/>
                    <a:pt x="21597" y="10472"/>
                  </a:cubicBezTo>
                  <a:cubicBezTo>
                    <a:pt x="21597" y="9456"/>
                    <a:pt x="21350" y="8469"/>
                    <a:pt x="20896" y="7663"/>
                  </a:cubicBezTo>
                  <a:lnTo>
                    <a:pt x="20889" y="7661"/>
                  </a:lnTo>
                  <a:cubicBezTo>
                    <a:pt x="21031" y="7208"/>
                    <a:pt x="21105" y="6721"/>
                    <a:pt x="21105" y="6228"/>
                  </a:cubicBezTo>
                  <a:cubicBezTo>
                    <a:pt x="21105" y="4588"/>
                    <a:pt x="20299" y="3150"/>
                    <a:pt x="19139" y="2719"/>
                  </a:cubicBezTo>
                  <a:lnTo>
                    <a:pt x="19148" y="2712"/>
                  </a:lnTo>
                  <a:cubicBezTo>
                    <a:pt x="18940" y="1142"/>
                    <a:pt x="17933" y="0"/>
                    <a:pt x="16758" y="0"/>
                  </a:cubicBezTo>
                  <a:cubicBezTo>
                    <a:pt x="16044" y="-1"/>
                    <a:pt x="15367" y="426"/>
                    <a:pt x="14905" y="1165"/>
                  </a:cubicBezTo>
                  <a:lnTo>
                    <a:pt x="14909" y="1170"/>
                  </a:lnTo>
                  <a:cubicBezTo>
                    <a:pt x="14497" y="432"/>
                    <a:pt x="13855" y="0"/>
                    <a:pt x="13174" y="0"/>
                  </a:cubicBezTo>
                  <a:cubicBezTo>
                    <a:pt x="12347" y="-1"/>
                    <a:pt x="11590" y="637"/>
                    <a:pt x="11221" y="1645"/>
                  </a:cubicBezTo>
                  <a:lnTo>
                    <a:pt x="11229" y="1694"/>
                  </a:lnTo>
                  <a:cubicBezTo>
                    <a:pt x="10730" y="1024"/>
                    <a:pt x="10058" y="650"/>
                    <a:pt x="9358" y="650"/>
                  </a:cubicBezTo>
                  <a:cubicBezTo>
                    <a:pt x="8372" y="649"/>
                    <a:pt x="7466" y="1391"/>
                    <a:pt x="7003" y="2578"/>
                  </a:cubicBezTo>
                  <a:lnTo>
                    <a:pt x="6995" y="2602"/>
                  </a:lnTo>
                  <a:cubicBezTo>
                    <a:pt x="6477" y="2189"/>
                    <a:pt x="5888" y="1972"/>
                    <a:pt x="5288" y="1972"/>
                  </a:cubicBezTo>
                  <a:cubicBezTo>
                    <a:pt x="3423" y="1972"/>
                    <a:pt x="1912" y="4029"/>
                    <a:pt x="1912" y="6567"/>
                  </a:cubicBezTo>
                  <a:cubicBezTo>
                    <a:pt x="1911" y="6774"/>
                    <a:pt x="1922" y="6981"/>
                    <a:pt x="1942" y="7186"/>
                  </a:cubicBezTo>
                  <a:lnTo>
                    <a:pt x="1949" y="7180"/>
                  </a:lnTo>
                  <a:close/>
                </a:path>
                <a:path w="21600" h="21600" fill="none" extrusionOk="0">
                  <a:moveTo>
                    <a:pt x="1074" y="12702"/>
                  </a:moveTo>
                  <a:cubicBezTo>
                    <a:pt x="1407" y="12969"/>
                    <a:pt x="1786" y="13110"/>
                    <a:pt x="2172" y="13110"/>
                  </a:cubicBezTo>
                  <a:cubicBezTo>
                    <a:pt x="2228" y="13109"/>
                    <a:pt x="2285" y="13107"/>
                    <a:pt x="2341" y="13101"/>
                  </a:cubicBezTo>
                </a:path>
                <a:path w="21600" h="21600" fill="none" extrusionOk="0">
                  <a:moveTo>
                    <a:pt x="2909" y="17629"/>
                  </a:moveTo>
                  <a:cubicBezTo>
                    <a:pt x="3099" y="17599"/>
                    <a:pt x="3285" y="17535"/>
                    <a:pt x="3463" y="17439"/>
                  </a:cubicBezTo>
                </a:path>
                <a:path w="21600" h="21600" fill="none" extrusionOk="0">
                  <a:moveTo>
                    <a:pt x="7895" y="18680"/>
                  </a:moveTo>
                  <a:cubicBezTo>
                    <a:pt x="7983" y="18985"/>
                    <a:pt x="8095" y="19277"/>
                    <a:pt x="8229" y="19550"/>
                  </a:cubicBezTo>
                </a:path>
                <a:path w="21600" h="21600" fill="none" extrusionOk="0">
                  <a:moveTo>
                    <a:pt x="14267" y="18324"/>
                  </a:moveTo>
                  <a:cubicBezTo>
                    <a:pt x="14336" y="18013"/>
                    <a:pt x="14380" y="17693"/>
                    <a:pt x="14400" y="17370"/>
                  </a:cubicBezTo>
                </a:path>
                <a:path w="21600" h="21600" fill="none" extrusionOk="0">
                  <a:moveTo>
                    <a:pt x="18694" y="15045"/>
                  </a:moveTo>
                  <a:cubicBezTo>
                    <a:pt x="18694" y="15034"/>
                    <a:pt x="18695" y="15024"/>
                    <a:pt x="18695" y="15013"/>
                  </a:cubicBezTo>
                  <a:cubicBezTo>
                    <a:pt x="18695" y="13508"/>
                    <a:pt x="18063" y="12136"/>
                    <a:pt x="17069" y="11477"/>
                  </a:cubicBezTo>
                </a:path>
                <a:path w="21600" h="21600" fill="none" extrusionOk="0">
                  <a:moveTo>
                    <a:pt x="20165" y="8999"/>
                  </a:moveTo>
                  <a:cubicBezTo>
                    <a:pt x="20479" y="8635"/>
                    <a:pt x="20726" y="8177"/>
                    <a:pt x="20889" y="7661"/>
                  </a:cubicBezTo>
                </a:path>
                <a:path w="21600" h="21600" fill="none" extrusionOk="0">
                  <a:moveTo>
                    <a:pt x="19186" y="3344"/>
                  </a:moveTo>
                  <a:cubicBezTo>
                    <a:pt x="19186" y="3328"/>
                    <a:pt x="19187" y="3313"/>
                    <a:pt x="19187" y="3297"/>
                  </a:cubicBezTo>
                  <a:cubicBezTo>
                    <a:pt x="19187" y="3101"/>
                    <a:pt x="19174" y="2905"/>
                    <a:pt x="19148" y="2712"/>
                  </a:cubicBezTo>
                </a:path>
                <a:path w="21600" h="21600" fill="none" extrusionOk="0">
                  <a:moveTo>
                    <a:pt x="14905" y="1165"/>
                  </a:moveTo>
                  <a:cubicBezTo>
                    <a:pt x="14754" y="1408"/>
                    <a:pt x="14629" y="1679"/>
                    <a:pt x="14535" y="1971"/>
                  </a:cubicBezTo>
                </a:path>
                <a:path w="21600" h="21600" fill="none" extrusionOk="0">
                  <a:moveTo>
                    <a:pt x="11221" y="1645"/>
                  </a:moveTo>
                  <a:cubicBezTo>
                    <a:pt x="11140" y="1866"/>
                    <a:pt x="11080" y="2099"/>
                    <a:pt x="11041" y="2340"/>
                  </a:cubicBezTo>
                </a:path>
                <a:path w="21600" h="21600" fill="none" extrusionOk="0">
                  <a:moveTo>
                    <a:pt x="7645" y="3276"/>
                  </a:moveTo>
                  <a:cubicBezTo>
                    <a:pt x="7449" y="3016"/>
                    <a:pt x="7231" y="2790"/>
                    <a:pt x="6995" y="2602"/>
                  </a:cubicBezTo>
                </a:path>
                <a:path w="21600" h="21600" fill="none" extrusionOk="0">
                  <a:moveTo>
                    <a:pt x="1942" y="7186"/>
                  </a:moveTo>
                  <a:cubicBezTo>
                    <a:pt x="1966" y="7426"/>
                    <a:pt x="2004" y="7663"/>
                    <a:pt x="2056" y="7895"/>
                  </a:cubicBezTo>
                </a:path>
              </a:pathLst>
            </a:custGeom>
            <a:solidFill>
              <a:srgbClr val="C0C0C0"/>
            </a:solidFill>
            <a:ln w="3175">
              <a:solidFill>
                <a:srgbClr val="333333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 lIns="0" rIns="0"/>
            <a:lstStyle/>
            <a:p>
              <a:pPr>
                <a:defRPr/>
              </a:pPr>
              <a:endParaRPr lang="id-ID" sz="1671"/>
            </a:p>
          </p:txBody>
        </p:sp>
        <p:sp>
          <p:nvSpPr>
            <p:cNvPr id="44" name="Text Box 11"/>
            <p:cNvSpPr txBox="1">
              <a:spLocks noChangeArrowheads="1"/>
            </p:cNvSpPr>
            <p:nvPr/>
          </p:nvSpPr>
          <p:spPr bwMode="auto">
            <a:xfrm>
              <a:off x="800" y="1440"/>
              <a:ext cx="1052" cy="3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hangingPunct="0">
                <a:lnSpc>
                  <a:spcPct val="80000"/>
                </a:lnSpc>
                <a:buClr>
                  <a:srgbClr val="000000"/>
                </a:buClr>
                <a:buSzPct val="45000"/>
                <a:buFont typeface="StarSymbol" charset="0"/>
                <a:buNone/>
              </a:pPr>
              <a:r>
                <a:rPr lang="id-ID" sz="752" b="1">
                  <a:solidFill>
                    <a:srgbClr val="0000FF"/>
                  </a:solidFill>
                </a:rPr>
                <a:t>Jaminan </a:t>
              </a:r>
            </a:p>
            <a:p>
              <a:pPr algn="ctr" hangingPunct="0">
                <a:lnSpc>
                  <a:spcPct val="80000"/>
                </a:lnSpc>
                <a:buClr>
                  <a:srgbClr val="000000"/>
                </a:buClr>
                <a:buSzPct val="45000"/>
                <a:buFont typeface="StarSymbol" charset="0"/>
                <a:buNone/>
              </a:pPr>
              <a:r>
                <a:rPr lang="id-ID" sz="752" b="1">
                  <a:solidFill>
                    <a:srgbClr val="0000FF"/>
                  </a:solidFill>
                </a:rPr>
                <a:t>Keamanan</a:t>
              </a:r>
              <a:endParaRPr lang="id-ID" sz="752" b="1">
                <a:solidFill>
                  <a:srgbClr val="0000FF"/>
                </a:solidFill>
                <a:latin typeface="Arial Narrow" pitchFamily="34" charset="0"/>
              </a:endParaRPr>
            </a:p>
          </p:txBody>
        </p:sp>
      </p:grpSp>
      <p:pic>
        <p:nvPicPr>
          <p:cNvPr id="45" name="Picture 26" descr="goldorb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790542" y="4811030"/>
            <a:ext cx="279823" cy="245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dist="17961" dir="2700000" algn="ctr" rotWithShape="0">
              <a:schemeClr val="tx1">
                <a:alpha val="74998"/>
              </a:schemeClr>
            </a:outerShdw>
          </a:effectLst>
        </p:spPr>
      </p:pic>
      <p:pic>
        <p:nvPicPr>
          <p:cNvPr id="46" name="Picture 24" descr="blueorb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4167573" y="5492181"/>
            <a:ext cx="318283" cy="282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dist="17961" dir="2700000" algn="ctr" rotWithShape="0">
              <a:schemeClr val="tx1">
                <a:alpha val="74998"/>
              </a:schemeClr>
            </a:outerShdw>
          </a:effectLst>
        </p:spPr>
      </p:pic>
      <p:sp>
        <p:nvSpPr>
          <p:cNvPr id="47" name="Curved Right Arrow 46"/>
          <p:cNvSpPr/>
          <p:nvPr/>
        </p:nvSpPr>
        <p:spPr>
          <a:xfrm rot="17169945">
            <a:off x="3822944" y="4929738"/>
            <a:ext cx="262583" cy="679515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>
              <a:solidFill>
                <a:schemeClr val="tx1"/>
              </a:solidFill>
            </a:endParaRPr>
          </a:p>
        </p:txBody>
      </p:sp>
      <p:sp>
        <p:nvSpPr>
          <p:cNvPr id="48" name="Curved Right Arrow 47"/>
          <p:cNvSpPr/>
          <p:nvPr/>
        </p:nvSpPr>
        <p:spPr>
          <a:xfrm rot="-7440000">
            <a:off x="5967333" y="4454082"/>
            <a:ext cx="262583" cy="714980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>
              <a:solidFill>
                <a:schemeClr val="tx1"/>
              </a:solidFill>
            </a:endParaRPr>
          </a:p>
        </p:txBody>
      </p:sp>
      <p:grpSp>
        <p:nvGrpSpPr>
          <p:cNvPr id="49" name="Group 9"/>
          <p:cNvGrpSpPr>
            <a:grpSpLocks/>
          </p:cNvGrpSpPr>
          <p:nvPr/>
        </p:nvGrpSpPr>
        <p:grpSpPr bwMode="auto">
          <a:xfrm>
            <a:off x="7279205" y="3688392"/>
            <a:ext cx="712158" cy="393875"/>
            <a:chOff x="714" y="1341"/>
            <a:chExt cx="1224" cy="492"/>
          </a:xfrm>
        </p:grpSpPr>
        <p:sp>
          <p:nvSpPr>
            <p:cNvPr id="50" name="Cloud"/>
            <p:cNvSpPr>
              <a:spLocks noChangeAspect="1" noEditPoints="1" noChangeArrowheads="1"/>
            </p:cNvSpPr>
            <p:nvPr/>
          </p:nvSpPr>
          <p:spPr bwMode="auto">
            <a:xfrm>
              <a:off x="714" y="1341"/>
              <a:ext cx="1224" cy="49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82 w 21600"/>
                <a:gd name="T13" fmla="*/ 3249 h 21600"/>
                <a:gd name="T14" fmla="*/ 17082 w 21600"/>
                <a:gd name="T15" fmla="*/ 1734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 extrusionOk="0">
                  <a:moveTo>
                    <a:pt x="1949" y="7180"/>
                  </a:moveTo>
                  <a:cubicBezTo>
                    <a:pt x="841" y="7336"/>
                    <a:pt x="0" y="8613"/>
                    <a:pt x="0" y="10137"/>
                  </a:cubicBezTo>
                  <a:cubicBezTo>
                    <a:pt x="-1" y="11192"/>
                    <a:pt x="409" y="12169"/>
                    <a:pt x="1074" y="12702"/>
                  </a:cubicBezTo>
                  <a:lnTo>
                    <a:pt x="1063" y="12668"/>
                  </a:lnTo>
                  <a:cubicBezTo>
                    <a:pt x="685" y="13217"/>
                    <a:pt x="475" y="13940"/>
                    <a:pt x="475" y="14690"/>
                  </a:cubicBezTo>
                  <a:cubicBezTo>
                    <a:pt x="475" y="16325"/>
                    <a:pt x="1451" y="17650"/>
                    <a:pt x="2655" y="17650"/>
                  </a:cubicBezTo>
                  <a:cubicBezTo>
                    <a:pt x="2739" y="17650"/>
                    <a:pt x="2824" y="17643"/>
                    <a:pt x="2909" y="17629"/>
                  </a:cubicBezTo>
                  <a:lnTo>
                    <a:pt x="2897" y="17649"/>
                  </a:lnTo>
                  <a:cubicBezTo>
                    <a:pt x="3585" y="19288"/>
                    <a:pt x="4863" y="20300"/>
                    <a:pt x="6247" y="20300"/>
                  </a:cubicBezTo>
                  <a:cubicBezTo>
                    <a:pt x="6947" y="20299"/>
                    <a:pt x="7635" y="20039"/>
                    <a:pt x="8235" y="19546"/>
                  </a:cubicBezTo>
                  <a:lnTo>
                    <a:pt x="8229" y="19550"/>
                  </a:lnTo>
                  <a:cubicBezTo>
                    <a:pt x="8855" y="20829"/>
                    <a:pt x="9908" y="21597"/>
                    <a:pt x="11036" y="21597"/>
                  </a:cubicBezTo>
                  <a:cubicBezTo>
                    <a:pt x="12523" y="21596"/>
                    <a:pt x="13836" y="20267"/>
                    <a:pt x="14267" y="18324"/>
                  </a:cubicBezTo>
                  <a:lnTo>
                    <a:pt x="14270" y="18350"/>
                  </a:lnTo>
                  <a:cubicBezTo>
                    <a:pt x="14730" y="18740"/>
                    <a:pt x="15260" y="18947"/>
                    <a:pt x="15802" y="18947"/>
                  </a:cubicBezTo>
                  <a:cubicBezTo>
                    <a:pt x="17390" y="18946"/>
                    <a:pt x="18682" y="17205"/>
                    <a:pt x="18694" y="15045"/>
                  </a:cubicBezTo>
                  <a:lnTo>
                    <a:pt x="18689" y="15035"/>
                  </a:lnTo>
                  <a:cubicBezTo>
                    <a:pt x="20357" y="14710"/>
                    <a:pt x="21597" y="12765"/>
                    <a:pt x="21597" y="10472"/>
                  </a:cubicBezTo>
                  <a:cubicBezTo>
                    <a:pt x="21597" y="9456"/>
                    <a:pt x="21350" y="8469"/>
                    <a:pt x="20896" y="7663"/>
                  </a:cubicBezTo>
                  <a:lnTo>
                    <a:pt x="20889" y="7661"/>
                  </a:lnTo>
                  <a:cubicBezTo>
                    <a:pt x="21031" y="7208"/>
                    <a:pt x="21105" y="6721"/>
                    <a:pt x="21105" y="6228"/>
                  </a:cubicBezTo>
                  <a:cubicBezTo>
                    <a:pt x="21105" y="4588"/>
                    <a:pt x="20299" y="3150"/>
                    <a:pt x="19139" y="2719"/>
                  </a:cubicBezTo>
                  <a:lnTo>
                    <a:pt x="19148" y="2712"/>
                  </a:lnTo>
                  <a:cubicBezTo>
                    <a:pt x="18940" y="1142"/>
                    <a:pt x="17933" y="0"/>
                    <a:pt x="16758" y="0"/>
                  </a:cubicBezTo>
                  <a:cubicBezTo>
                    <a:pt x="16044" y="-1"/>
                    <a:pt x="15367" y="426"/>
                    <a:pt x="14905" y="1165"/>
                  </a:cubicBezTo>
                  <a:lnTo>
                    <a:pt x="14909" y="1170"/>
                  </a:lnTo>
                  <a:cubicBezTo>
                    <a:pt x="14497" y="432"/>
                    <a:pt x="13855" y="0"/>
                    <a:pt x="13174" y="0"/>
                  </a:cubicBezTo>
                  <a:cubicBezTo>
                    <a:pt x="12347" y="-1"/>
                    <a:pt x="11590" y="637"/>
                    <a:pt x="11221" y="1645"/>
                  </a:cubicBezTo>
                  <a:lnTo>
                    <a:pt x="11229" y="1694"/>
                  </a:lnTo>
                  <a:cubicBezTo>
                    <a:pt x="10730" y="1024"/>
                    <a:pt x="10058" y="650"/>
                    <a:pt x="9358" y="650"/>
                  </a:cubicBezTo>
                  <a:cubicBezTo>
                    <a:pt x="8372" y="649"/>
                    <a:pt x="7466" y="1391"/>
                    <a:pt x="7003" y="2578"/>
                  </a:cubicBezTo>
                  <a:lnTo>
                    <a:pt x="6995" y="2602"/>
                  </a:lnTo>
                  <a:cubicBezTo>
                    <a:pt x="6477" y="2189"/>
                    <a:pt x="5888" y="1972"/>
                    <a:pt x="5288" y="1972"/>
                  </a:cubicBezTo>
                  <a:cubicBezTo>
                    <a:pt x="3423" y="1972"/>
                    <a:pt x="1912" y="4029"/>
                    <a:pt x="1912" y="6567"/>
                  </a:cubicBezTo>
                  <a:cubicBezTo>
                    <a:pt x="1911" y="6774"/>
                    <a:pt x="1922" y="6981"/>
                    <a:pt x="1942" y="7186"/>
                  </a:cubicBezTo>
                  <a:lnTo>
                    <a:pt x="1949" y="7180"/>
                  </a:lnTo>
                  <a:close/>
                </a:path>
                <a:path w="21600" h="21600" fill="none" extrusionOk="0">
                  <a:moveTo>
                    <a:pt x="1074" y="12702"/>
                  </a:moveTo>
                  <a:cubicBezTo>
                    <a:pt x="1407" y="12969"/>
                    <a:pt x="1786" y="13110"/>
                    <a:pt x="2172" y="13110"/>
                  </a:cubicBezTo>
                  <a:cubicBezTo>
                    <a:pt x="2228" y="13109"/>
                    <a:pt x="2285" y="13107"/>
                    <a:pt x="2341" y="13101"/>
                  </a:cubicBezTo>
                </a:path>
                <a:path w="21600" h="21600" fill="none" extrusionOk="0">
                  <a:moveTo>
                    <a:pt x="2909" y="17629"/>
                  </a:moveTo>
                  <a:cubicBezTo>
                    <a:pt x="3099" y="17599"/>
                    <a:pt x="3285" y="17535"/>
                    <a:pt x="3463" y="17439"/>
                  </a:cubicBezTo>
                </a:path>
                <a:path w="21600" h="21600" fill="none" extrusionOk="0">
                  <a:moveTo>
                    <a:pt x="7895" y="18680"/>
                  </a:moveTo>
                  <a:cubicBezTo>
                    <a:pt x="7983" y="18985"/>
                    <a:pt x="8095" y="19277"/>
                    <a:pt x="8229" y="19550"/>
                  </a:cubicBezTo>
                </a:path>
                <a:path w="21600" h="21600" fill="none" extrusionOk="0">
                  <a:moveTo>
                    <a:pt x="14267" y="18324"/>
                  </a:moveTo>
                  <a:cubicBezTo>
                    <a:pt x="14336" y="18013"/>
                    <a:pt x="14380" y="17693"/>
                    <a:pt x="14400" y="17370"/>
                  </a:cubicBezTo>
                </a:path>
                <a:path w="21600" h="21600" fill="none" extrusionOk="0">
                  <a:moveTo>
                    <a:pt x="18694" y="15045"/>
                  </a:moveTo>
                  <a:cubicBezTo>
                    <a:pt x="18694" y="15034"/>
                    <a:pt x="18695" y="15024"/>
                    <a:pt x="18695" y="15013"/>
                  </a:cubicBezTo>
                  <a:cubicBezTo>
                    <a:pt x="18695" y="13508"/>
                    <a:pt x="18063" y="12136"/>
                    <a:pt x="17069" y="11477"/>
                  </a:cubicBezTo>
                </a:path>
                <a:path w="21600" h="21600" fill="none" extrusionOk="0">
                  <a:moveTo>
                    <a:pt x="20165" y="8999"/>
                  </a:moveTo>
                  <a:cubicBezTo>
                    <a:pt x="20479" y="8635"/>
                    <a:pt x="20726" y="8177"/>
                    <a:pt x="20889" y="7661"/>
                  </a:cubicBezTo>
                </a:path>
                <a:path w="21600" h="21600" fill="none" extrusionOk="0">
                  <a:moveTo>
                    <a:pt x="19186" y="3344"/>
                  </a:moveTo>
                  <a:cubicBezTo>
                    <a:pt x="19186" y="3328"/>
                    <a:pt x="19187" y="3313"/>
                    <a:pt x="19187" y="3297"/>
                  </a:cubicBezTo>
                  <a:cubicBezTo>
                    <a:pt x="19187" y="3101"/>
                    <a:pt x="19174" y="2905"/>
                    <a:pt x="19148" y="2712"/>
                  </a:cubicBezTo>
                </a:path>
                <a:path w="21600" h="21600" fill="none" extrusionOk="0">
                  <a:moveTo>
                    <a:pt x="14905" y="1165"/>
                  </a:moveTo>
                  <a:cubicBezTo>
                    <a:pt x="14754" y="1408"/>
                    <a:pt x="14629" y="1679"/>
                    <a:pt x="14535" y="1971"/>
                  </a:cubicBezTo>
                </a:path>
                <a:path w="21600" h="21600" fill="none" extrusionOk="0">
                  <a:moveTo>
                    <a:pt x="11221" y="1645"/>
                  </a:moveTo>
                  <a:cubicBezTo>
                    <a:pt x="11140" y="1866"/>
                    <a:pt x="11080" y="2099"/>
                    <a:pt x="11041" y="2340"/>
                  </a:cubicBezTo>
                </a:path>
                <a:path w="21600" h="21600" fill="none" extrusionOk="0">
                  <a:moveTo>
                    <a:pt x="7645" y="3276"/>
                  </a:moveTo>
                  <a:cubicBezTo>
                    <a:pt x="7449" y="3016"/>
                    <a:pt x="7231" y="2790"/>
                    <a:pt x="6995" y="2602"/>
                  </a:cubicBezTo>
                </a:path>
                <a:path w="21600" h="21600" fill="none" extrusionOk="0">
                  <a:moveTo>
                    <a:pt x="1942" y="7186"/>
                  </a:moveTo>
                  <a:cubicBezTo>
                    <a:pt x="1966" y="7426"/>
                    <a:pt x="2004" y="7663"/>
                    <a:pt x="2056" y="7895"/>
                  </a:cubicBezTo>
                </a:path>
              </a:pathLst>
            </a:custGeom>
            <a:solidFill>
              <a:srgbClr val="C0C0C0"/>
            </a:solidFill>
            <a:ln w="3175">
              <a:solidFill>
                <a:srgbClr val="333333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 lIns="0" rIns="0"/>
            <a:lstStyle/>
            <a:p>
              <a:pPr>
                <a:defRPr/>
              </a:pPr>
              <a:endParaRPr lang="id-ID" sz="1671"/>
            </a:p>
          </p:txBody>
        </p:sp>
        <p:sp>
          <p:nvSpPr>
            <p:cNvPr id="51" name="Text Box 11"/>
            <p:cNvSpPr txBox="1">
              <a:spLocks noChangeArrowheads="1"/>
            </p:cNvSpPr>
            <p:nvPr/>
          </p:nvSpPr>
          <p:spPr bwMode="auto">
            <a:xfrm>
              <a:off x="801" y="1440"/>
              <a:ext cx="1050" cy="3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hangingPunct="0">
                <a:lnSpc>
                  <a:spcPct val="80000"/>
                </a:lnSpc>
                <a:buClr>
                  <a:srgbClr val="000000"/>
                </a:buClr>
                <a:buSzPct val="45000"/>
                <a:buFont typeface="StarSymbol" charset="0"/>
                <a:buNone/>
              </a:pPr>
              <a:r>
                <a:rPr lang="id-ID" sz="752" b="1">
                  <a:solidFill>
                    <a:srgbClr val="0000FF"/>
                  </a:solidFill>
                </a:rPr>
                <a:t>Jaminan </a:t>
              </a:r>
            </a:p>
            <a:p>
              <a:pPr algn="ctr" hangingPunct="0">
                <a:lnSpc>
                  <a:spcPct val="80000"/>
                </a:lnSpc>
                <a:buClr>
                  <a:srgbClr val="000000"/>
                </a:buClr>
                <a:buSzPct val="45000"/>
                <a:buFont typeface="StarSymbol" charset="0"/>
                <a:buNone/>
              </a:pPr>
              <a:r>
                <a:rPr lang="id-ID" sz="752" b="1">
                  <a:solidFill>
                    <a:srgbClr val="0000FF"/>
                  </a:solidFill>
                </a:rPr>
                <a:t>Keamanan</a:t>
              </a:r>
              <a:endParaRPr lang="id-ID" sz="752" b="1">
                <a:solidFill>
                  <a:srgbClr val="0000FF"/>
                </a:solidFill>
                <a:latin typeface="Arial Narrow" pitchFamily="34" charset="0"/>
              </a:endParaRPr>
            </a:p>
          </p:txBody>
        </p:sp>
      </p:grpSp>
      <p:pic>
        <p:nvPicPr>
          <p:cNvPr id="52" name="Picture 26" descr="goldorb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186373" y="3833163"/>
            <a:ext cx="279824" cy="245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dist="17961" dir="2700000" algn="ctr" rotWithShape="0">
              <a:schemeClr val="tx1">
                <a:alpha val="74998"/>
              </a:schemeClr>
            </a:outerShdw>
          </a:effectLst>
        </p:spPr>
      </p:pic>
      <p:sp>
        <p:nvSpPr>
          <p:cNvPr id="53" name="TextBox 52"/>
          <p:cNvSpPr txBox="1"/>
          <p:nvPr/>
        </p:nvSpPr>
        <p:spPr>
          <a:xfrm>
            <a:off x="1585477" y="1694669"/>
            <a:ext cx="678391" cy="24654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id-ID" sz="1002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dusen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815870" y="5166689"/>
            <a:ext cx="801823" cy="24654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id-ID" sz="1002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nsporter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831318" y="5395386"/>
            <a:ext cx="824265" cy="24654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id-ID" sz="1002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PJK/Broker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6856946" y="4259495"/>
            <a:ext cx="946093" cy="24654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id-ID" sz="1002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ea  dan Cukai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6758588" y="2750616"/>
            <a:ext cx="1021433" cy="24654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id-ID" sz="1002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PS/Warehouse</a:t>
            </a:r>
          </a:p>
        </p:txBody>
      </p:sp>
      <p:pic>
        <p:nvPicPr>
          <p:cNvPr id="58" name="Picture 17" descr="woman at desk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4669186" y="4388519"/>
            <a:ext cx="659802" cy="501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" name="Picture 208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2292717" y="2371020"/>
            <a:ext cx="952196" cy="545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0" name="Group 9"/>
          <p:cNvGrpSpPr>
            <a:grpSpLocks/>
          </p:cNvGrpSpPr>
          <p:nvPr/>
        </p:nvGrpSpPr>
        <p:grpSpPr bwMode="auto">
          <a:xfrm>
            <a:off x="1026513" y="2134950"/>
            <a:ext cx="710832" cy="395201"/>
            <a:chOff x="714" y="1341"/>
            <a:chExt cx="1224" cy="492"/>
          </a:xfrm>
        </p:grpSpPr>
        <p:sp>
          <p:nvSpPr>
            <p:cNvPr id="61" name="Cloud"/>
            <p:cNvSpPr>
              <a:spLocks noChangeAspect="1" noEditPoints="1" noChangeArrowheads="1"/>
            </p:cNvSpPr>
            <p:nvPr/>
          </p:nvSpPr>
          <p:spPr bwMode="auto">
            <a:xfrm>
              <a:off x="714" y="1341"/>
              <a:ext cx="1224" cy="49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82 w 21600"/>
                <a:gd name="T13" fmla="*/ 3249 h 21600"/>
                <a:gd name="T14" fmla="*/ 17082 w 21600"/>
                <a:gd name="T15" fmla="*/ 1734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 extrusionOk="0">
                  <a:moveTo>
                    <a:pt x="1949" y="7180"/>
                  </a:moveTo>
                  <a:cubicBezTo>
                    <a:pt x="841" y="7336"/>
                    <a:pt x="0" y="8613"/>
                    <a:pt x="0" y="10137"/>
                  </a:cubicBezTo>
                  <a:cubicBezTo>
                    <a:pt x="-1" y="11192"/>
                    <a:pt x="409" y="12169"/>
                    <a:pt x="1074" y="12702"/>
                  </a:cubicBezTo>
                  <a:lnTo>
                    <a:pt x="1063" y="12668"/>
                  </a:lnTo>
                  <a:cubicBezTo>
                    <a:pt x="685" y="13217"/>
                    <a:pt x="475" y="13940"/>
                    <a:pt x="475" y="14690"/>
                  </a:cubicBezTo>
                  <a:cubicBezTo>
                    <a:pt x="475" y="16325"/>
                    <a:pt x="1451" y="17650"/>
                    <a:pt x="2655" y="17650"/>
                  </a:cubicBezTo>
                  <a:cubicBezTo>
                    <a:pt x="2739" y="17650"/>
                    <a:pt x="2824" y="17643"/>
                    <a:pt x="2909" y="17629"/>
                  </a:cubicBezTo>
                  <a:lnTo>
                    <a:pt x="2897" y="17649"/>
                  </a:lnTo>
                  <a:cubicBezTo>
                    <a:pt x="3585" y="19288"/>
                    <a:pt x="4863" y="20300"/>
                    <a:pt x="6247" y="20300"/>
                  </a:cubicBezTo>
                  <a:cubicBezTo>
                    <a:pt x="6947" y="20299"/>
                    <a:pt x="7635" y="20039"/>
                    <a:pt x="8235" y="19546"/>
                  </a:cubicBezTo>
                  <a:lnTo>
                    <a:pt x="8229" y="19550"/>
                  </a:lnTo>
                  <a:cubicBezTo>
                    <a:pt x="8855" y="20829"/>
                    <a:pt x="9908" y="21597"/>
                    <a:pt x="11036" y="21597"/>
                  </a:cubicBezTo>
                  <a:cubicBezTo>
                    <a:pt x="12523" y="21596"/>
                    <a:pt x="13836" y="20267"/>
                    <a:pt x="14267" y="18324"/>
                  </a:cubicBezTo>
                  <a:lnTo>
                    <a:pt x="14270" y="18350"/>
                  </a:lnTo>
                  <a:cubicBezTo>
                    <a:pt x="14730" y="18740"/>
                    <a:pt x="15260" y="18947"/>
                    <a:pt x="15802" y="18947"/>
                  </a:cubicBezTo>
                  <a:cubicBezTo>
                    <a:pt x="17390" y="18946"/>
                    <a:pt x="18682" y="17205"/>
                    <a:pt x="18694" y="15045"/>
                  </a:cubicBezTo>
                  <a:lnTo>
                    <a:pt x="18689" y="15035"/>
                  </a:lnTo>
                  <a:cubicBezTo>
                    <a:pt x="20357" y="14710"/>
                    <a:pt x="21597" y="12765"/>
                    <a:pt x="21597" y="10472"/>
                  </a:cubicBezTo>
                  <a:cubicBezTo>
                    <a:pt x="21597" y="9456"/>
                    <a:pt x="21350" y="8469"/>
                    <a:pt x="20896" y="7663"/>
                  </a:cubicBezTo>
                  <a:lnTo>
                    <a:pt x="20889" y="7661"/>
                  </a:lnTo>
                  <a:cubicBezTo>
                    <a:pt x="21031" y="7208"/>
                    <a:pt x="21105" y="6721"/>
                    <a:pt x="21105" y="6228"/>
                  </a:cubicBezTo>
                  <a:cubicBezTo>
                    <a:pt x="21105" y="4588"/>
                    <a:pt x="20299" y="3150"/>
                    <a:pt x="19139" y="2719"/>
                  </a:cubicBezTo>
                  <a:lnTo>
                    <a:pt x="19148" y="2712"/>
                  </a:lnTo>
                  <a:cubicBezTo>
                    <a:pt x="18940" y="1142"/>
                    <a:pt x="17933" y="0"/>
                    <a:pt x="16758" y="0"/>
                  </a:cubicBezTo>
                  <a:cubicBezTo>
                    <a:pt x="16044" y="-1"/>
                    <a:pt x="15367" y="426"/>
                    <a:pt x="14905" y="1165"/>
                  </a:cubicBezTo>
                  <a:lnTo>
                    <a:pt x="14909" y="1170"/>
                  </a:lnTo>
                  <a:cubicBezTo>
                    <a:pt x="14497" y="432"/>
                    <a:pt x="13855" y="0"/>
                    <a:pt x="13174" y="0"/>
                  </a:cubicBezTo>
                  <a:cubicBezTo>
                    <a:pt x="12347" y="-1"/>
                    <a:pt x="11590" y="637"/>
                    <a:pt x="11221" y="1645"/>
                  </a:cubicBezTo>
                  <a:lnTo>
                    <a:pt x="11229" y="1694"/>
                  </a:lnTo>
                  <a:cubicBezTo>
                    <a:pt x="10730" y="1024"/>
                    <a:pt x="10058" y="650"/>
                    <a:pt x="9358" y="650"/>
                  </a:cubicBezTo>
                  <a:cubicBezTo>
                    <a:pt x="8372" y="649"/>
                    <a:pt x="7466" y="1391"/>
                    <a:pt x="7003" y="2578"/>
                  </a:cubicBezTo>
                  <a:lnTo>
                    <a:pt x="6995" y="2602"/>
                  </a:lnTo>
                  <a:cubicBezTo>
                    <a:pt x="6477" y="2189"/>
                    <a:pt x="5888" y="1972"/>
                    <a:pt x="5288" y="1972"/>
                  </a:cubicBezTo>
                  <a:cubicBezTo>
                    <a:pt x="3423" y="1972"/>
                    <a:pt x="1912" y="4029"/>
                    <a:pt x="1912" y="6567"/>
                  </a:cubicBezTo>
                  <a:cubicBezTo>
                    <a:pt x="1911" y="6774"/>
                    <a:pt x="1922" y="6981"/>
                    <a:pt x="1942" y="7186"/>
                  </a:cubicBezTo>
                  <a:lnTo>
                    <a:pt x="1949" y="7180"/>
                  </a:lnTo>
                  <a:close/>
                </a:path>
                <a:path w="21600" h="21600" fill="none" extrusionOk="0">
                  <a:moveTo>
                    <a:pt x="1074" y="12702"/>
                  </a:moveTo>
                  <a:cubicBezTo>
                    <a:pt x="1407" y="12969"/>
                    <a:pt x="1786" y="13110"/>
                    <a:pt x="2172" y="13110"/>
                  </a:cubicBezTo>
                  <a:cubicBezTo>
                    <a:pt x="2228" y="13109"/>
                    <a:pt x="2285" y="13107"/>
                    <a:pt x="2341" y="13101"/>
                  </a:cubicBezTo>
                </a:path>
                <a:path w="21600" h="21600" fill="none" extrusionOk="0">
                  <a:moveTo>
                    <a:pt x="2909" y="17629"/>
                  </a:moveTo>
                  <a:cubicBezTo>
                    <a:pt x="3099" y="17599"/>
                    <a:pt x="3285" y="17535"/>
                    <a:pt x="3463" y="17439"/>
                  </a:cubicBezTo>
                </a:path>
                <a:path w="21600" h="21600" fill="none" extrusionOk="0">
                  <a:moveTo>
                    <a:pt x="7895" y="18680"/>
                  </a:moveTo>
                  <a:cubicBezTo>
                    <a:pt x="7983" y="18985"/>
                    <a:pt x="8095" y="19277"/>
                    <a:pt x="8229" y="19550"/>
                  </a:cubicBezTo>
                </a:path>
                <a:path w="21600" h="21600" fill="none" extrusionOk="0">
                  <a:moveTo>
                    <a:pt x="14267" y="18324"/>
                  </a:moveTo>
                  <a:cubicBezTo>
                    <a:pt x="14336" y="18013"/>
                    <a:pt x="14380" y="17693"/>
                    <a:pt x="14400" y="17370"/>
                  </a:cubicBezTo>
                </a:path>
                <a:path w="21600" h="21600" fill="none" extrusionOk="0">
                  <a:moveTo>
                    <a:pt x="18694" y="15045"/>
                  </a:moveTo>
                  <a:cubicBezTo>
                    <a:pt x="18694" y="15034"/>
                    <a:pt x="18695" y="15024"/>
                    <a:pt x="18695" y="15013"/>
                  </a:cubicBezTo>
                  <a:cubicBezTo>
                    <a:pt x="18695" y="13508"/>
                    <a:pt x="18063" y="12136"/>
                    <a:pt x="17069" y="11477"/>
                  </a:cubicBezTo>
                </a:path>
                <a:path w="21600" h="21600" fill="none" extrusionOk="0">
                  <a:moveTo>
                    <a:pt x="20165" y="8999"/>
                  </a:moveTo>
                  <a:cubicBezTo>
                    <a:pt x="20479" y="8635"/>
                    <a:pt x="20726" y="8177"/>
                    <a:pt x="20889" y="7661"/>
                  </a:cubicBezTo>
                </a:path>
                <a:path w="21600" h="21600" fill="none" extrusionOk="0">
                  <a:moveTo>
                    <a:pt x="19186" y="3344"/>
                  </a:moveTo>
                  <a:cubicBezTo>
                    <a:pt x="19186" y="3328"/>
                    <a:pt x="19187" y="3313"/>
                    <a:pt x="19187" y="3297"/>
                  </a:cubicBezTo>
                  <a:cubicBezTo>
                    <a:pt x="19187" y="3101"/>
                    <a:pt x="19174" y="2905"/>
                    <a:pt x="19148" y="2712"/>
                  </a:cubicBezTo>
                </a:path>
                <a:path w="21600" h="21600" fill="none" extrusionOk="0">
                  <a:moveTo>
                    <a:pt x="14905" y="1165"/>
                  </a:moveTo>
                  <a:cubicBezTo>
                    <a:pt x="14754" y="1408"/>
                    <a:pt x="14629" y="1679"/>
                    <a:pt x="14535" y="1971"/>
                  </a:cubicBezTo>
                </a:path>
                <a:path w="21600" h="21600" fill="none" extrusionOk="0">
                  <a:moveTo>
                    <a:pt x="11221" y="1645"/>
                  </a:moveTo>
                  <a:cubicBezTo>
                    <a:pt x="11140" y="1866"/>
                    <a:pt x="11080" y="2099"/>
                    <a:pt x="11041" y="2340"/>
                  </a:cubicBezTo>
                </a:path>
                <a:path w="21600" h="21600" fill="none" extrusionOk="0">
                  <a:moveTo>
                    <a:pt x="7645" y="3276"/>
                  </a:moveTo>
                  <a:cubicBezTo>
                    <a:pt x="7449" y="3016"/>
                    <a:pt x="7231" y="2790"/>
                    <a:pt x="6995" y="2602"/>
                  </a:cubicBezTo>
                </a:path>
                <a:path w="21600" h="21600" fill="none" extrusionOk="0">
                  <a:moveTo>
                    <a:pt x="1942" y="7186"/>
                  </a:moveTo>
                  <a:cubicBezTo>
                    <a:pt x="1966" y="7426"/>
                    <a:pt x="2004" y="7663"/>
                    <a:pt x="2056" y="7895"/>
                  </a:cubicBezTo>
                </a:path>
              </a:pathLst>
            </a:custGeom>
            <a:solidFill>
              <a:srgbClr val="C0C0C0"/>
            </a:solidFill>
            <a:ln w="3175">
              <a:solidFill>
                <a:srgbClr val="333333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 lIns="0" rIns="0"/>
            <a:lstStyle/>
            <a:p>
              <a:pPr>
                <a:defRPr/>
              </a:pPr>
              <a:endParaRPr lang="id-ID" sz="1671"/>
            </a:p>
          </p:txBody>
        </p:sp>
        <p:sp>
          <p:nvSpPr>
            <p:cNvPr id="62" name="Text Box 11"/>
            <p:cNvSpPr txBox="1">
              <a:spLocks noChangeArrowheads="1"/>
            </p:cNvSpPr>
            <p:nvPr/>
          </p:nvSpPr>
          <p:spPr bwMode="auto">
            <a:xfrm>
              <a:off x="800" y="1440"/>
              <a:ext cx="1052" cy="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hangingPunct="0">
                <a:lnSpc>
                  <a:spcPct val="80000"/>
                </a:lnSpc>
                <a:buClr>
                  <a:srgbClr val="000000"/>
                </a:buClr>
                <a:buSzPct val="45000"/>
                <a:buFont typeface="StarSymbol" charset="0"/>
                <a:buNone/>
              </a:pPr>
              <a:r>
                <a:rPr lang="id-ID" sz="752" b="1">
                  <a:solidFill>
                    <a:srgbClr val="0000FF"/>
                  </a:solidFill>
                </a:rPr>
                <a:t>Jaminan </a:t>
              </a:r>
            </a:p>
            <a:p>
              <a:pPr algn="ctr" hangingPunct="0">
                <a:lnSpc>
                  <a:spcPct val="80000"/>
                </a:lnSpc>
                <a:buClr>
                  <a:srgbClr val="000000"/>
                </a:buClr>
                <a:buSzPct val="45000"/>
                <a:buFont typeface="StarSymbol" charset="0"/>
                <a:buNone/>
              </a:pPr>
              <a:r>
                <a:rPr lang="id-ID" sz="752" b="1">
                  <a:solidFill>
                    <a:srgbClr val="0000FF"/>
                  </a:solidFill>
                </a:rPr>
                <a:t>Keamanan</a:t>
              </a:r>
              <a:endParaRPr lang="id-ID" sz="752" b="1">
                <a:solidFill>
                  <a:srgbClr val="0000FF"/>
                </a:solidFill>
                <a:latin typeface="Arial Narrow" pitchFamily="34" charset="0"/>
              </a:endParaRPr>
            </a:p>
          </p:txBody>
        </p:sp>
      </p:grpSp>
      <p:sp>
        <p:nvSpPr>
          <p:cNvPr id="63" name="TextBox 62"/>
          <p:cNvSpPr txBox="1"/>
          <p:nvPr/>
        </p:nvSpPr>
        <p:spPr>
          <a:xfrm>
            <a:off x="1501598" y="2670073"/>
            <a:ext cx="651140" cy="24654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id-ID" sz="1002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ksportir</a:t>
            </a:r>
          </a:p>
        </p:txBody>
      </p:sp>
      <p:sp>
        <p:nvSpPr>
          <p:cNvPr id="64" name="Line 11"/>
          <p:cNvSpPr>
            <a:spLocks noChangeShapeType="1"/>
          </p:cNvSpPr>
          <p:nvPr/>
        </p:nvSpPr>
        <p:spPr bwMode="auto">
          <a:xfrm>
            <a:off x="1768488" y="2449710"/>
            <a:ext cx="691603" cy="247550"/>
          </a:xfrm>
          <a:prstGeom prst="line">
            <a:avLst/>
          </a:prstGeom>
          <a:noFill/>
          <a:ln w="19050">
            <a:solidFill>
              <a:srgbClr val="8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id-ID"/>
          </a:p>
        </p:txBody>
      </p:sp>
      <p:pic>
        <p:nvPicPr>
          <p:cNvPr id="65" name="Picture 209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1598293" y="2200437"/>
            <a:ext cx="432334" cy="392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6" name="Group 1580"/>
          <p:cNvGrpSpPr>
            <a:grpSpLocks/>
          </p:cNvGrpSpPr>
          <p:nvPr/>
        </p:nvGrpSpPr>
        <p:grpSpPr bwMode="auto">
          <a:xfrm>
            <a:off x="5491168" y="1364430"/>
            <a:ext cx="948217" cy="538428"/>
            <a:chOff x="521" y="1259"/>
            <a:chExt cx="387" cy="275"/>
          </a:xfrm>
        </p:grpSpPr>
        <p:grpSp>
          <p:nvGrpSpPr>
            <p:cNvPr id="67" name="Group 1581"/>
            <p:cNvGrpSpPr>
              <a:grpSpLocks/>
            </p:cNvGrpSpPr>
            <p:nvPr/>
          </p:nvGrpSpPr>
          <p:grpSpPr bwMode="auto">
            <a:xfrm>
              <a:off x="761" y="1341"/>
              <a:ext cx="42" cy="49"/>
              <a:chOff x="761" y="1341"/>
              <a:chExt cx="42" cy="49"/>
            </a:xfrm>
          </p:grpSpPr>
          <p:sp>
            <p:nvSpPr>
              <p:cNvPr id="225" name="Freeform 1582"/>
              <p:cNvSpPr>
                <a:spLocks/>
              </p:cNvSpPr>
              <p:nvPr/>
            </p:nvSpPr>
            <p:spPr bwMode="auto">
              <a:xfrm>
                <a:off x="761" y="1341"/>
                <a:ext cx="20" cy="25"/>
              </a:xfrm>
              <a:custGeom>
                <a:avLst/>
                <a:gdLst>
                  <a:gd name="T0" fmla="*/ 0 w 277"/>
                  <a:gd name="T1" fmla="*/ 0 h 322"/>
                  <a:gd name="T2" fmla="*/ 0 w 277"/>
                  <a:gd name="T3" fmla="*/ 0 h 322"/>
                  <a:gd name="T4" fmla="*/ 0 w 277"/>
                  <a:gd name="T5" fmla="*/ 0 h 322"/>
                  <a:gd name="T6" fmla="*/ 0 w 277"/>
                  <a:gd name="T7" fmla="*/ 0 h 322"/>
                  <a:gd name="T8" fmla="*/ 0 w 277"/>
                  <a:gd name="T9" fmla="*/ 0 h 322"/>
                  <a:gd name="T10" fmla="*/ 0 w 277"/>
                  <a:gd name="T11" fmla="*/ 0 h 322"/>
                  <a:gd name="T12" fmla="*/ 0 w 277"/>
                  <a:gd name="T13" fmla="*/ 0 h 322"/>
                  <a:gd name="T14" fmla="*/ 0 w 277"/>
                  <a:gd name="T15" fmla="*/ 0 h 322"/>
                  <a:gd name="T16" fmla="*/ 0 w 277"/>
                  <a:gd name="T17" fmla="*/ 0 h 322"/>
                  <a:gd name="T18" fmla="*/ 0 w 277"/>
                  <a:gd name="T19" fmla="*/ 0 h 322"/>
                  <a:gd name="T20" fmla="*/ 0 w 277"/>
                  <a:gd name="T21" fmla="*/ 0 h 322"/>
                  <a:gd name="T22" fmla="*/ 0 w 277"/>
                  <a:gd name="T23" fmla="*/ 0 h 322"/>
                  <a:gd name="T24" fmla="*/ 0 w 277"/>
                  <a:gd name="T25" fmla="*/ 0 h 322"/>
                  <a:gd name="T26" fmla="*/ 0 w 277"/>
                  <a:gd name="T27" fmla="*/ 0 h 322"/>
                  <a:gd name="T28" fmla="*/ 0 w 277"/>
                  <a:gd name="T29" fmla="*/ 0 h 322"/>
                  <a:gd name="T30" fmla="*/ 0 w 277"/>
                  <a:gd name="T31" fmla="*/ 0 h 322"/>
                  <a:gd name="T32" fmla="*/ 0 w 277"/>
                  <a:gd name="T33" fmla="*/ 0 h 322"/>
                  <a:gd name="T34" fmla="*/ 0 w 277"/>
                  <a:gd name="T35" fmla="*/ 0 h 322"/>
                  <a:gd name="T36" fmla="*/ 0 w 277"/>
                  <a:gd name="T37" fmla="*/ 0 h 322"/>
                  <a:gd name="T38" fmla="*/ 0 w 277"/>
                  <a:gd name="T39" fmla="*/ 0 h 322"/>
                  <a:gd name="T40" fmla="*/ 0 w 277"/>
                  <a:gd name="T41" fmla="*/ 0 h 322"/>
                  <a:gd name="T42" fmla="*/ 0 w 277"/>
                  <a:gd name="T43" fmla="*/ 0 h 322"/>
                  <a:gd name="T44" fmla="*/ 0 w 277"/>
                  <a:gd name="T45" fmla="*/ 0 h 322"/>
                  <a:gd name="T46" fmla="*/ 0 w 277"/>
                  <a:gd name="T47" fmla="*/ 0 h 322"/>
                  <a:gd name="T48" fmla="*/ 0 w 277"/>
                  <a:gd name="T49" fmla="*/ 0 h 322"/>
                  <a:gd name="T50" fmla="*/ 0 w 277"/>
                  <a:gd name="T51" fmla="*/ 0 h 322"/>
                  <a:gd name="T52" fmla="*/ 0 w 277"/>
                  <a:gd name="T53" fmla="*/ 0 h 322"/>
                  <a:gd name="T54" fmla="*/ 0 w 277"/>
                  <a:gd name="T55" fmla="*/ 0 h 322"/>
                  <a:gd name="T56" fmla="*/ 0 w 277"/>
                  <a:gd name="T57" fmla="*/ 0 h 322"/>
                  <a:gd name="T58" fmla="*/ 0 w 277"/>
                  <a:gd name="T59" fmla="*/ 0 h 322"/>
                  <a:gd name="T60" fmla="*/ 0 w 277"/>
                  <a:gd name="T61" fmla="*/ 0 h 322"/>
                  <a:gd name="T62" fmla="*/ 0 w 277"/>
                  <a:gd name="T63" fmla="*/ 0 h 322"/>
                  <a:gd name="T64" fmla="*/ 0 w 277"/>
                  <a:gd name="T65" fmla="*/ 0 h 322"/>
                  <a:gd name="T66" fmla="*/ 0 w 277"/>
                  <a:gd name="T67" fmla="*/ 0 h 322"/>
                  <a:gd name="T68" fmla="*/ 0 w 277"/>
                  <a:gd name="T69" fmla="*/ 0 h 322"/>
                  <a:gd name="T70" fmla="*/ 0 w 277"/>
                  <a:gd name="T71" fmla="*/ 0 h 322"/>
                  <a:gd name="T72" fmla="*/ 0 w 277"/>
                  <a:gd name="T73" fmla="*/ 0 h 322"/>
                  <a:gd name="T74" fmla="*/ 0 w 277"/>
                  <a:gd name="T75" fmla="*/ 0 h 322"/>
                  <a:gd name="T76" fmla="*/ 0 w 277"/>
                  <a:gd name="T77" fmla="*/ 0 h 322"/>
                  <a:gd name="T78" fmla="*/ 0 w 277"/>
                  <a:gd name="T79" fmla="*/ 0 h 322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77"/>
                  <a:gd name="T121" fmla="*/ 0 h 322"/>
                  <a:gd name="T122" fmla="*/ 277 w 277"/>
                  <a:gd name="T123" fmla="*/ 322 h 322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77" h="322">
                    <a:moveTo>
                      <a:pt x="231" y="230"/>
                    </a:moveTo>
                    <a:lnTo>
                      <a:pt x="206" y="194"/>
                    </a:lnTo>
                    <a:lnTo>
                      <a:pt x="211" y="171"/>
                    </a:lnTo>
                    <a:lnTo>
                      <a:pt x="216" y="140"/>
                    </a:lnTo>
                    <a:lnTo>
                      <a:pt x="208" y="103"/>
                    </a:lnTo>
                    <a:lnTo>
                      <a:pt x="182" y="72"/>
                    </a:lnTo>
                    <a:lnTo>
                      <a:pt x="138" y="39"/>
                    </a:lnTo>
                    <a:lnTo>
                      <a:pt x="102" y="13"/>
                    </a:lnTo>
                    <a:lnTo>
                      <a:pt x="72" y="8"/>
                    </a:lnTo>
                    <a:lnTo>
                      <a:pt x="87" y="0"/>
                    </a:lnTo>
                    <a:lnTo>
                      <a:pt x="70" y="13"/>
                    </a:lnTo>
                    <a:lnTo>
                      <a:pt x="64" y="33"/>
                    </a:lnTo>
                    <a:lnTo>
                      <a:pt x="70" y="44"/>
                    </a:lnTo>
                    <a:lnTo>
                      <a:pt x="104" y="81"/>
                    </a:lnTo>
                    <a:lnTo>
                      <a:pt x="127" y="112"/>
                    </a:lnTo>
                    <a:lnTo>
                      <a:pt x="81" y="87"/>
                    </a:lnTo>
                    <a:lnTo>
                      <a:pt x="49" y="70"/>
                    </a:lnTo>
                    <a:lnTo>
                      <a:pt x="14" y="61"/>
                    </a:lnTo>
                    <a:lnTo>
                      <a:pt x="0" y="75"/>
                    </a:lnTo>
                    <a:lnTo>
                      <a:pt x="12" y="103"/>
                    </a:lnTo>
                    <a:lnTo>
                      <a:pt x="70" y="135"/>
                    </a:lnTo>
                    <a:lnTo>
                      <a:pt x="95" y="154"/>
                    </a:lnTo>
                    <a:lnTo>
                      <a:pt x="90" y="174"/>
                    </a:lnTo>
                    <a:lnTo>
                      <a:pt x="64" y="182"/>
                    </a:lnTo>
                    <a:lnTo>
                      <a:pt x="52" y="189"/>
                    </a:lnTo>
                    <a:lnTo>
                      <a:pt x="34" y="182"/>
                    </a:lnTo>
                    <a:lnTo>
                      <a:pt x="20" y="179"/>
                    </a:lnTo>
                    <a:lnTo>
                      <a:pt x="9" y="196"/>
                    </a:lnTo>
                    <a:lnTo>
                      <a:pt x="12" y="216"/>
                    </a:lnTo>
                    <a:lnTo>
                      <a:pt x="26" y="227"/>
                    </a:lnTo>
                    <a:lnTo>
                      <a:pt x="58" y="247"/>
                    </a:lnTo>
                    <a:lnTo>
                      <a:pt x="87" y="242"/>
                    </a:lnTo>
                    <a:lnTo>
                      <a:pt x="127" y="238"/>
                    </a:lnTo>
                    <a:lnTo>
                      <a:pt x="136" y="233"/>
                    </a:lnTo>
                    <a:lnTo>
                      <a:pt x="145" y="238"/>
                    </a:lnTo>
                    <a:lnTo>
                      <a:pt x="168" y="258"/>
                    </a:lnTo>
                    <a:lnTo>
                      <a:pt x="202" y="286"/>
                    </a:lnTo>
                    <a:lnTo>
                      <a:pt x="248" y="322"/>
                    </a:lnTo>
                    <a:lnTo>
                      <a:pt x="277" y="275"/>
                    </a:lnTo>
                    <a:lnTo>
                      <a:pt x="231" y="230"/>
                    </a:lnTo>
                    <a:close/>
                  </a:path>
                </a:pathLst>
              </a:custGeom>
              <a:solidFill>
                <a:srgbClr val="FFE0C0"/>
              </a:solidFill>
              <a:ln w="1588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id-ID"/>
              </a:p>
            </p:txBody>
          </p:sp>
          <p:sp>
            <p:nvSpPr>
              <p:cNvPr id="226" name="Freeform 1583"/>
              <p:cNvSpPr>
                <a:spLocks/>
              </p:cNvSpPr>
              <p:nvPr/>
            </p:nvSpPr>
            <p:spPr bwMode="auto">
              <a:xfrm>
                <a:off x="774" y="1358"/>
                <a:ext cx="29" cy="32"/>
              </a:xfrm>
              <a:custGeom>
                <a:avLst/>
                <a:gdLst>
                  <a:gd name="T0" fmla="*/ 0 w 418"/>
                  <a:gd name="T1" fmla="*/ 0 h 426"/>
                  <a:gd name="T2" fmla="*/ 0 w 418"/>
                  <a:gd name="T3" fmla="*/ 0 h 426"/>
                  <a:gd name="T4" fmla="*/ 0 w 418"/>
                  <a:gd name="T5" fmla="*/ 0 h 426"/>
                  <a:gd name="T6" fmla="*/ 0 w 418"/>
                  <a:gd name="T7" fmla="*/ 0 h 426"/>
                  <a:gd name="T8" fmla="*/ 0 w 418"/>
                  <a:gd name="T9" fmla="*/ 0 h 426"/>
                  <a:gd name="T10" fmla="*/ 0 w 418"/>
                  <a:gd name="T11" fmla="*/ 0 h 426"/>
                  <a:gd name="T12" fmla="*/ 0 w 418"/>
                  <a:gd name="T13" fmla="*/ 0 h 426"/>
                  <a:gd name="T14" fmla="*/ 0 w 418"/>
                  <a:gd name="T15" fmla="*/ 0 h 426"/>
                  <a:gd name="T16" fmla="*/ 0 w 418"/>
                  <a:gd name="T17" fmla="*/ 0 h 426"/>
                  <a:gd name="T18" fmla="*/ 0 w 418"/>
                  <a:gd name="T19" fmla="*/ 0 h 426"/>
                  <a:gd name="T20" fmla="*/ 0 w 418"/>
                  <a:gd name="T21" fmla="*/ 0 h 426"/>
                  <a:gd name="T22" fmla="*/ 0 w 418"/>
                  <a:gd name="T23" fmla="*/ 0 h 426"/>
                  <a:gd name="T24" fmla="*/ 0 w 418"/>
                  <a:gd name="T25" fmla="*/ 0 h 426"/>
                  <a:gd name="T26" fmla="*/ 0 w 418"/>
                  <a:gd name="T27" fmla="*/ 0 h 42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18"/>
                  <a:gd name="T43" fmla="*/ 0 h 426"/>
                  <a:gd name="T44" fmla="*/ 418 w 418"/>
                  <a:gd name="T45" fmla="*/ 426 h 42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18" h="426">
                    <a:moveTo>
                      <a:pt x="68" y="0"/>
                    </a:moveTo>
                    <a:lnTo>
                      <a:pt x="176" y="139"/>
                    </a:lnTo>
                    <a:lnTo>
                      <a:pt x="283" y="242"/>
                    </a:lnTo>
                    <a:lnTo>
                      <a:pt x="360" y="312"/>
                    </a:lnTo>
                    <a:lnTo>
                      <a:pt x="418" y="347"/>
                    </a:lnTo>
                    <a:lnTo>
                      <a:pt x="403" y="395"/>
                    </a:lnTo>
                    <a:lnTo>
                      <a:pt x="348" y="426"/>
                    </a:lnTo>
                    <a:lnTo>
                      <a:pt x="254" y="335"/>
                    </a:lnTo>
                    <a:lnTo>
                      <a:pt x="174" y="265"/>
                    </a:lnTo>
                    <a:lnTo>
                      <a:pt x="86" y="182"/>
                    </a:lnTo>
                    <a:lnTo>
                      <a:pt x="19" y="126"/>
                    </a:lnTo>
                    <a:lnTo>
                      <a:pt x="0" y="109"/>
                    </a:lnTo>
                    <a:lnTo>
                      <a:pt x="27" y="73"/>
                    </a:lnTo>
                    <a:lnTo>
                      <a:pt x="68" y="0"/>
                    </a:lnTo>
                    <a:close/>
                  </a:path>
                </a:pathLst>
              </a:custGeom>
              <a:solidFill>
                <a:srgbClr val="4040FF"/>
              </a:solidFill>
              <a:ln w="1588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id-ID"/>
              </a:p>
            </p:txBody>
          </p:sp>
        </p:grpSp>
        <p:grpSp>
          <p:nvGrpSpPr>
            <p:cNvPr id="68" name="Group 1584"/>
            <p:cNvGrpSpPr>
              <a:grpSpLocks/>
            </p:cNvGrpSpPr>
            <p:nvPr/>
          </p:nvGrpSpPr>
          <p:grpSpPr bwMode="auto">
            <a:xfrm>
              <a:off x="521" y="1259"/>
              <a:ext cx="387" cy="275"/>
              <a:chOff x="521" y="1259"/>
              <a:chExt cx="387" cy="275"/>
            </a:xfrm>
          </p:grpSpPr>
          <p:grpSp>
            <p:nvGrpSpPr>
              <p:cNvPr id="78" name="Group 1585"/>
              <p:cNvGrpSpPr>
                <a:grpSpLocks/>
              </p:cNvGrpSpPr>
              <p:nvPr/>
            </p:nvGrpSpPr>
            <p:grpSpPr bwMode="auto">
              <a:xfrm>
                <a:off x="626" y="1349"/>
                <a:ext cx="77" cy="137"/>
                <a:chOff x="626" y="1349"/>
                <a:chExt cx="77" cy="137"/>
              </a:xfrm>
            </p:grpSpPr>
            <p:sp>
              <p:nvSpPr>
                <p:cNvPr id="223" name="Freeform 1586"/>
                <p:cNvSpPr>
                  <a:spLocks/>
                </p:cNvSpPr>
                <p:nvPr/>
              </p:nvSpPr>
              <p:spPr bwMode="auto">
                <a:xfrm>
                  <a:off x="643" y="1349"/>
                  <a:ext cx="60" cy="137"/>
                </a:xfrm>
                <a:custGeom>
                  <a:avLst/>
                  <a:gdLst>
                    <a:gd name="T0" fmla="*/ 0 w 843"/>
                    <a:gd name="T1" fmla="*/ 0 h 1776"/>
                    <a:gd name="T2" fmla="*/ 0 w 843"/>
                    <a:gd name="T3" fmla="*/ 0 h 1776"/>
                    <a:gd name="T4" fmla="*/ 0 w 843"/>
                    <a:gd name="T5" fmla="*/ 0 h 1776"/>
                    <a:gd name="T6" fmla="*/ 0 w 843"/>
                    <a:gd name="T7" fmla="*/ 0 h 1776"/>
                    <a:gd name="T8" fmla="*/ 0 w 843"/>
                    <a:gd name="T9" fmla="*/ 0 h 177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43"/>
                    <a:gd name="T16" fmla="*/ 0 h 1776"/>
                    <a:gd name="T17" fmla="*/ 843 w 843"/>
                    <a:gd name="T18" fmla="*/ 1776 h 177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43" h="1776">
                      <a:moveTo>
                        <a:pt x="0" y="3"/>
                      </a:moveTo>
                      <a:lnTo>
                        <a:pt x="843" y="0"/>
                      </a:lnTo>
                      <a:lnTo>
                        <a:pt x="843" y="1776"/>
                      </a:lnTo>
                      <a:lnTo>
                        <a:pt x="0" y="1776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solidFill>
                  <a:srgbClr val="FFC080"/>
                </a:solidFill>
                <a:ln w="1588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d-ID"/>
                </a:p>
              </p:txBody>
            </p:sp>
            <p:sp>
              <p:nvSpPr>
                <p:cNvPr id="224" name="Freeform 1587"/>
                <p:cNvSpPr>
                  <a:spLocks/>
                </p:cNvSpPr>
                <p:nvPr/>
              </p:nvSpPr>
              <p:spPr bwMode="auto">
                <a:xfrm>
                  <a:off x="626" y="1349"/>
                  <a:ext cx="17" cy="136"/>
                </a:xfrm>
                <a:custGeom>
                  <a:avLst/>
                  <a:gdLst>
                    <a:gd name="T0" fmla="*/ 0 w 247"/>
                    <a:gd name="T1" fmla="*/ 0 h 1773"/>
                    <a:gd name="T2" fmla="*/ 0 w 247"/>
                    <a:gd name="T3" fmla="*/ 0 h 1773"/>
                    <a:gd name="T4" fmla="*/ 0 w 247"/>
                    <a:gd name="T5" fmla="*/ 0 h 1773"/>
                    <a:gd name="T6" fmla="*/ 0 w 247"/>
                    <a:gd name="T7" fmla="*/ 0 h 1773"/>
                    <a:gd name="T8" fmla="*/ 0 w 247"/>
                    <a:gd name="T9" fmla="*/ 0 h 177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47"/>
                    <a:gd name="T16" fmla="*/ 0 h 1773"/>
                    <a:gd name="T17" fmla="*/ 247 w 247"/>
                    <a:gd name="T18" fmla="*/ 1773 h 177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47" h="1773">
                      <a:moveTo>
                        <a:pt x="247" y="1773"/>
                      </a:moveTo>
                      <a:lnTo>
                        <a:pt x="0" y="1569"/>
                      </a:lnTo>
                      <a:lnTo>
                        <a:pt x="0" y="102"/>
                      </a:lnTo>
                      <a:lnTo>
                        <a:pt x="247" y="0"/>
                      </a:lnTo>
                      <a:lnTo>
                        <a:pt x="247" y="1773"/>
                      </a:lnTo>
                      <a:close/>
                    </a:path>
                  </a:pathLst>
                </a:custGeom>
                <a:solidFill>
                  <a:srgbClr val="FFA040"/>
                </a:solidFill>
                <a:ln w="1588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d-ID"/>
                </a:p>
              </p:txBody>
            </p:sp>
          </p:grpSp>
          <p:grpSp>
            <p:nvGrpSpPr>
              <p:cNvPr id="79" name="Group 1588"/>
              <p:cNvGrpSpPr>
                <a:grpSpLocks/>
              </p:cNvGrpSpPr>
              <p:nvPr/>
            </p:nvGrpSpPr>
            <p:grpSpPr bwMode="auto">
              <a:xfrm>
                <a:off x="521" y="1259"/>
                <a:ext cx="387" cy="275"/>
                <a:chOff x="521" y="1259"/>
                <a:chExt cx="387" cy="275"/>
              </a:xfrm>
            </p:grpSpPr>
            <p:grpSp>
              <p:nvGrpSpPr>
                <p:cNvPr id="90" name="Group 1589"/>
                <p:cNvGrpSpPr>
                  <a:grpSpLocks/>
                </p:cNvGrpSpPr>
                <p:nvPr/>
              </p:nvGrpSpPr>
              <p:grpSpPr bwMode="auto">
                <a:xfrm>
                  <a:off x="521" y="1285"/>
                  <a:ext cx="141" cy="213"/>
                  <a:chOff x="521" y="1285"/>
                  <a:chExt cx="141" cy="213"/>
                </a:xfrm>
              </p:grpSpPr>
              <p:grpSp>
                <p:nvGrpSpPr>
                  <p:cNvPr id="214" name="Group 1590"/>
                  <p:cNvGrpSpPr>
                    <a:grpSpLocks/>
                  </p:cNvGrpSpPr>
                  <p:nvPr/>
                </p:nvGrpSpPr>
                <p:grpSpPr bwMode="auto">
                  <a:xfrm>
                    <a:off x="579" y="1285"/>
                    <a:ext cx="83" cy="180"/>
                    <a:chOff x="579" y="1285"/>
                    <a:chExt cx="83" cy="180"/>
                  </a:xfrm>
                </p:grpSpPr>
                <p:sp>
                  <p:nvSpPr>
                    <p:cNvPr id="221" name="Rectangle 159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96" y="1285"/>
                      <a:ext cx="66" cy="180"/>
                    </a:xfrm>
                    <a:prstGeom prst="rect">
                      <a:avLst/>
                    </a:prstGeom>
                    <a:solidFill>
                      <a:srgbClr val="FFC080"/>
                    </a:solidFill>
                    <a:ln w="1588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831526"/>
                      <a:endParaRPr lang="ko-KR" altLang="en-US" sz="1671">
                        <a:solidFill>
                          <a:srgbClr val="000000"/>
                        </a:solidFill>
                        <a:latin typeface="Malgun Gothic" pitchFamily="34" charset="-127"/>
                      </a:endParaRPr>
                    </a:p>
                  </p:txBody>
                </p:sp>
                <p:sp>
                  <p:nvSpPr>
                    <p:cNvPr id="222" name="Freeform 1592"/>
                    <p:cNvSpPr>
                      <a:spLocks/>
                    </p:cNvSpPr>
                    <p:nvPr/>
                  </p:nvSpPr>
                  <p:spPr bwMode="auto">
                    <a:xfrm>
                      <a:off x="579" y="1285"/>
                      <a:ext cx="17" cy="180"/>
                    </a:xfrm>
                    <a:custGeom>
                      <a:avLst/>
                      <a:gdLst>
                        <a:gd name="T0" fmla="*/ 0 w 242"/>
                        <a:gd name="T1" fmla="*/ 0 h 2348"/>
                        <a:gd name="T2" fmla="*/ 0 w 242"/>
                        <a:gd name="T3" fmla="*/ 0 h 2348"/>
                        <a:gd name="T4" fmla="*/ 0 w 242"/>
                        <a:gd name="T5" fmla="*/ 0 h 2348"/>
                        <a:gd name="T6" fmla="*/ 0 w 242"/>
                        <a:gd name="T7" fmla="*/ 0 h 2348"/>
                        <a:gd name="T8" fmla="*/ 0 w 242"/>
                        <a:gd name="T9" fmla="*/ 0 h 234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42"/>
                        <a:gd name="T16" fmla="*/ 0 h 2348"/>
                        <a:gd name="T17" fmla="*/ 242 w 242"/>
                        <a:gd name="T18" fmla="*/ 2348 h 234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42" h="2348">
                          <a:moveTo>
                            <a:pt x="242" y="0"/>
                          </a:moveTo>
                          <a:lnTo>
                            <a:pt x="0" y="183"/>
                          </a:lnTo>
                          <a:lnTo>
                            <a:pt x="0" y="2297"/>
                          </a:lnTo>
                          <a:lnTo>
                            <a:pt x="242" y="2348"/>
                          </a:lnTo>
                          <a:lnTo>
                            <a:pt x="242" y="0"/>
                          </a:lnTo>
                          <a:close/>
                        </a:path>
                      </a:pathLst>
                    </a:custGeom>
                    <a:solidFill>
                      <a:srgbClr val="FFA040"/>
                    </a:solidFill>
                    <a:ln w="1588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id-ID"/>
                    </a:p>
                  </p:txBody>
                </p:sp>
              </p:grpSp>
              <p:grpSp>
                <p:nvGrpSpPr>
                  <p:cNvPr id="215" name="Group 1593"/>
                  <p:cNvGrpSpPr>
                    <a:grpSpLocks/>
                  </p:cNvGrpSpPr>
                  <p:nvPr/>
                </p:nvGrpSpPr>
                <p:grpSpPr bwMode="auto">
                  <a:xfrm>
                    <a:off x="548" y="1349"/>
                    <a:ext cx="78" cy="137"/>
                    <a:chOff x="548" y="1349"/>
                    <a:chExt cx="78" cy="137"/>
                  </a:xfrm>
                </p:grpSpPr>
                <p:sp>
                  <p:nvSpPr>
                    <p:cNvPr id="219" name="Freeform 1594"/>
                    <p:cNvSpPr>
                      <a:spLocks/>
                    </p:cNvSpPr>
                    <p:nvPr/>
                  </p:nvSpPr>
                  <p:spPr bwMode="auto">
                    <a:xfrm>
                      <a:off x="565" y="1349"/>
                      <a:ext cx="61" cy="137"/>
                    </a:xfrm>
                    <a:custGeom>
                      <a:avLst/>
                      <a:gdLst>
                        <a:gd name="T0" fmla="*/ 0 w 843"/>
                        <a:gd name="T1" fmla="*/ 0 h 1776"/>
                        <a:gd name="T2" fmla="*/ 0 w 843"/>
                        <a:gd name="T3" fmla="*/ 0 h 1776"/>
                        <a:gd name="T4" fmla="*/ 0 w 843"/>
                        <a:gd name="T5" fmla="*/ 0 h 1776"/>
                        <a:gd name="T6" fmla="*/ 0 w 843"/>
                        <a:gd name="T7" fmla="*/ 0 h 1776"/>
                        <a:gd name="T8" fmla="*/ 0 w 843"/>
                        <a:gd name="T9" fmla="*/ 0 h 177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843"/>
                        <a:gd name="T16" fmla="*/ 0 h 1776"/>
                        <a:gd name="T17" fmla="*/ 843 w 843"/>
                        <a:gd name="T18" fmla="*/ 1776 h 177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843" h="1776">
                          <a:moveTo>
                            <a:pt x="0" y="3"/>
                          </a:moveTo>
                          <a:lnTo>
                            <a:pt x="843" y="0"/>
                          </a:lnTo>
                          <a:lnTo>
                            <a:pt x="843" y="1776"/>
                          </a:lnTo>
                          <a:lnTo>
                            <a:pt x="0" y="1776"/>
                          </a:lnTo>
                          <a:lnTo>
                            <a:pt x="0" y="3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1588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id-ID"/>
                    </a:p>
                  </p:txBody>
                </p:sp>
                <p:sp>
                  <p:nvSpPr>
                    <p:cNvPr id="220" name="Freeform 1595"/>
                    <p:cNvSpPr>
                      <a:spLocks/>
                    </p:cNvSpPr>
                    <p:nvPr/>
                  </p:nvSpPr>
                  <p:spPr bwMode="auto">
                    <a:xfrm>
                      <a:off x="548" y="1349"/>
                      <a:ext cx="17" cy="136"/>
                    </a:xfrm>
                    <a:custGeom>
                      <a:avLst/>
                      <a:gdLst>
                        <a:gd name="T0" fmla="*/ 0 w 245"/>
                        <a:gd name="T1" fmla="*/ 0 h 1773"/>
                        <a:gd name="T2" fmla="*/ 0 w 245"/>
                        <a:gd name="T3" fmla="*/ 0 h 1773"/>
                        <a:gd name="T4" fmla="*/ 0 w 245"/>
                        <a:gd name="T5" fmla="*/ 0 h 1773"/>
                        <a:gd name="T6" fmla="*/ 0 w 245"/>
                        <a:gd name="T7" fmla="*/ 0 h 1773"/>
                        <a:gd name="T8" fmla="*/ 0 w 245"/>
                        <a:gd name="T9" fmla="*/ 0 h 177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45"/>
                        <a:gd name="T16" fmla="*/ 0 h 1773"/>
                        <a:gd name="T17" fmla="*/ 245 w 245"/>
                        <a:gd name="T18" fmla="*/ 1773 h 177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45" h="1773">
                          <a:moveTo>
                            <a:pt x="245" y="1773"/>
                          </a:moveTo>
                          <a:lnTo>
                            <a:pt x="0" y="1569"/>
                          </a:lnTo>
                          <a:lnTo>
                            <a:pt x="0" y="102"/>
                          </a:lnTo>
                          <a:lnTo>
                            <a:pt x="245" y="0"/>
                          </a:lnTo>
                          <a:lnTo>
                            <a:pt x="245" y="1773"/>
                          </a:lnTo>
                          <a:close/>
                        </a:path>
                      </a:pathLst>
                    </a:custGeom>
                    <a:solidFill>
                      <a:srgbClr val="FFA040"/>
                    </a:solidFill>
                    <a:ln w="1588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id-ID"/>
                    </a:p>
                  </p:txBody>
                </p:sp>
              </p:grpSp>
              <p:grpSp>
                <p:nvGrpSpPr>
                  <p:cNvPr id="216" name="Group 1596"/>
                  <p:cNvGrpSpPr>
                    <a:grpSpLocks/>
                  </p:cNvGrpSpPr>
                  <p:nvPr/>
                </p:nvGrpSpPr>
                <p:grpSpPr bwMode="auto">
                  <a:xfrm>
                    <a:off x="521" y="1393"/>
                    <a:ext cx="59" cy="105"/>
                    <a:chOff x="521" y="1393"/>
                    <a:chExt cx="59" cy="105"/>
                  </a:xfrm>
                </p:grpSpPr>
                <p:sp>
                  <p:nvSpPr>
                    <p:cNvPr id="217" name="Freeform 1597"/>
                    <p:cNvSpPr>
                      <a:spLocks/>
                    </p:cNvSpPr>
                    <p:nvPr/>
                  </p:nvSpPr>
                  <p:spPr bwMode="auto">
                    <a:xfrm>
                      <a:off x="534" y="1393"/>
                      <a:ext cx="46" cy="105"/>
                    </a:xfrm>
                    <a:custGeom>
                      <a:avLst/>
                      <a:gdLst>
                        <a:gd name="T0" fmla="*/ 0 w 645"/>
                        <a:gd name="T1" fmla="*/ 0 h 1358"/>
                        <a:gd name="T2" fmla="*/ 0 w 645"/>
                        <a:gd name="T3" fmla="*/ 0 h 1358"/>
                        <a:gd name="T4" fmla="*/ 0 w 645"/>
                        <a:gd name="T5" fmla="*/ 0 h 1358"/>
                        <a:gd name="T6" fmla="*/ 0 w 645"/>
                        <a:gd name="T7" fmla="*/ 0 h 1358"/>
                        <a:gd name="T8" fmla="*/ 0 w 645"/>
                        <a:gd name="T9" fmla="*/ 0 h 135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645"/>
                        <a:gd name="T16" fmla="*/ 0 h 1358"/>
                        <a:gd name="T17" fmla="*/ 645 w 645"/>
                        <a:gd name="T18" fmla="*/ 1358 h 135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645" h="1358">
                          <a:moveTo>
                            <a:pt x="0" y="2"/>
                          </a:moveTo>
                          <a:lnTo>
                            <a:pt x="645" y="0"/>
                          </a:lnTo>
                          <a:lnTo>
                            <a:pt x="645" y="1358"/>
                          </a:lnTo>
                          <a:lnTo>
                            <a:pt x="0" y="1358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1588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id-ID"/>
                    </a:p>
                  </p:txBody>
                </p:sp>
                <p:sp>
                  <p:nvSpPr>
                    <p:cNvPr id="218" name="Freeform 1598"/>
                    <p:cNvSpPr>
                      <a:spLocks/>
                    </p:cNvSpPr>
                    <p:nvPr/>
                  </p:nvSpPr>
                  <p:spPr bwMode="auto">
                    <a:xfrm>
                      <a:off x="521" y="1393"/>
                      <a:ext cx="13" cy="105"/>
                    </a:xfrm>
                    <a:custGeom>
                      <a:avLst/>
                      <a:gdLst>
                        <a:gd name="T0" fmla="*/ 0 w 187"/>
                        <a:gd name="T1" fmla="*/ 0 h 1356"/>
                        <a:gd name="T2" fmla="*/ 0 w 187"/>
                        <a:gd name="T3" fmla="*/ 0 h 1356"/>
                        <a:gd name="T4" fmla="*/ 0 w 187"/>
                        <a:gd name="T5" fmla="*/ 0 h 1356"/>
                        <a:gd name="T6" fmla="*/ 0 w 187"/>
                        <a:gd name="T7" fmla="*/ 0 h 1356"/>
                        <a:gd name="T8" fmla="*/ 0 w 187"/>
                        <a:gd name="T9" fmla="*/ 0 h 135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87"/>
                        <a:gd name="T16" fmla="*/ 0 h 1356"/>
                        <a:gd name="T17" fmla="*/ 187 w 187"/>
                        <a:gd name="T18" fmla="*/ 1356 h 135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87" h="1356">
                          <a:moveTo>
                            <a:pt x="187" y="1356"/>
                          </a:moveTo>
                          <a:lnTo>
                            <a:pt x="0" y="1200"/>
                          </a:lnTo>
                          <a:lnTo>
                            <a:pt x="0" y="77"/>
                          </a:lnTo>
                          <a:lnTo>
                            <a:pt x="187" y="0"/>
                          </a:lnTo>
                          <a:lnTo>
                            <a:pt x="187" y="1356"/>
                          </a:lnTo>
                          <a:close/>
                        </a:path>
                      </a:pathLst>
                    </a:custGeom>
                    <a:solidFill>
                      <a:srgbClr val="FFA040"/>
                    </a:solidFill>
                    <a:ln w="1588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id-ID"/>
                    </a:p>
                  </p:txBody>
                </p:sp>
              </p:grpSp>
            </p:grpSp>
            <p:grpSp>
              <p:nvGrpSpPr>
                <p:cNvPr id="91" name="Group 1599"/>
                <p:cNvGrpSpPr>
                  <a:grpSpLocks/>
                </p:cNvGrpSpPr>
                <p:nvPr/>
              </p:nvGrpSpPr>
              <p:grpSpPr bwMode="auto">
                <a:xfrm>
                  <a:off x="696" y="1259"/>
                  <a:ext cx="75" cy="35"/>
                  <a:chOff x="696" y="1259"/>
                  <a:chExt cx="75" cy="35"/>
                </a:xfrm>
              </p:grpSpPr>
              <p:sp>
                <p:nvSpPr>
                  <p:cNvPr id="210" name="Freeform 1600"/>
                  <p:cNvSpPr>
                    <a:spLocks/>
                  </p:cNvSpPr>
                  <p:nvPr/>
                </p:nvSpPr>
                <p:spPr bwMode="auto">
                  <a:xfrm>
                    <a:off x="696" y="1281"/>
                    <a:ext cx="75" cy="13"/>
                  </a:xfrm>
                  <a:custGeom>
                    <a:avLst/>
                    <a:gdLst>
                      <a:gd name="T0" fmla="*/ 0 w 1050"/>
                      <a:gd name="T1" fmla="*/ 0 h 159"/>
                      <a:gd name="T2" fmla="*/ 0 w 1050"/>
                      <a:gd name="T3" fmla="*/ 0 h 159"/>
                      <a:gd name="T4" fmla="*/ 0 w 1050"/>
                      <a:gd name="T5" fmla="*/ 0 h 159"/>
                      <a:gd name="T6" fmla="*/ 0 w 1050"/>
                      <a:gd name="T7" fmla="*/ 0 h 159"/>
                      <a:gd name="T8" fmla="*/ 0 w 1050"/>
                      <a:gd name="T9" fmla="*/ 0 h 15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050"/>
                      <a:gd name="T16" fmla="*/ 0 h 159"/>
                      <a:gd name="T17" fmla="*/ 1050 w 1050"/>
                      <a:gd name="T18" fmla="*/ 159 h 15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050" h="159">
                        <a:moveTo>
                          <a:pt x="1050" y="0"/>
                        </a:moveTo>
                        <a:lnTo>
                          <a:pt x="723" y="159"/>
                        </a:lnTo>
                        <a:lnTo>
                          <a:pt x="0" y="159"/>
                        </a:lnTo>
                        <a:lnTo>
                          <a:pt x="350" y="0"/>
                        </a:lnTo>
                        <a:lnTo>
                          <a:pt x="1050" y="0"/>
                        </a:lnTo>
                        <a:close/>
                      </a:path>
                    </a:pathLst>
                  </a:custGeom>
                  <a:solidFill>
                    <a:srgbClr val="FFC080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  <p:grpSp>
                <p:nvGrpSpPr>
                  <p:cNvPr id="211" name="Group 1601"/>
                  <p:cNvGrpSpPr>
                    <a:grpSpLocks/>
                  </p:cNvGrpSpPr>
                  <p:nvPr/>
                </p:nvGrpSpPr>
                <p:grpSpPr bwMode="auto">
                  <a:xfrm>
                    <a:off x="696" y="1259"/>
                    <a:ext cx="75" cy="35"/>
                    <a:chOff x="696" y="1259"/>
                    <a:chExt cx="75" cy="35"/>
                  </a:xfrm>
                </p:grpSpPr>
                <p:sp>
                  <p:nvSpPr>
                    <p:cNvPr id="212" name="Freeform 1602"/>
                    <p:cNvSpPr>
                      <a:spLocks/>
                    </p:cNvSpPr>
                    <p:nvPr/>
                  </p:nvSpPr>
                  <p:spPr bwMode="auto">
                    <a:xfrm>
                      <a:off x="721" y="1259"/>
                      <a:ext cx="50" cy="22"/>
                    </a:xfrm>
                    <a:custGeom>
                      <a:avLst/>
                      <a:gdLst>
                        <a:gd name="T0" fmla="*/ 0 w 700"/>
                        <a:gd name="T1" fmla="*/ 0 h 292"/>
                        <a:gd name="T2" fmla="*/ 0 w 700"/>
                        <a:gd name="T3" fmla="*/ 0 h 292"/>
                        <a:gd name="T4" fmla="*/ 0 w 700"/>
                        <a:gd name="T5" fmla="*/ 0 h 292"/>
                        <a:gd name="T6" fmla="*/ 0 w 700"/>
                        <a:gd name="T7" fmla="*/ 0 h 292"/>
                        <a:gd name="T8" fmla="*/ 0 w 700"/>
                        <a:gd name="T9" fmla="*/ 0 h 292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700"/>
                        <a:gd name="T16" fmla="*/ 0 h 292"/>
                        <a:gd name="T17" fmla="*/ 700 w 700"/>
                        <a:gd name="T18" fmla="*/ 292 h 292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700" h="292">
                          <a:moveTo>
                            <a:pt x="700" y="290"/>
                          </a:moveTo>
                          <a:lnTo>
                            <a:pt x="700" y="0"/>
                          </a:lnTo>
                          <a:lnTo>
                            <a:pt x="0" y="0"/>
                          </a:lnTo>
                          <a:lnTo>
                            <a:pt x="0" y="292"/>
                          </a:lnTo>
                          <a:lnTo>
                            <a:pt x="700" y="29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1588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id-ID"/>
                    </a:p>
                  </p:txBody>
                </p:sp>
                <p:sp>
                  <p:nvSpPr>
                    <p:cNvPr id="213" name="Freeform 1603"/>
                    <p:cNvSpPr>
                      <a:spLocks/>
                    </p:cNvSpPr>
                    <p:nvPr/>
                  </p:nvSpPr>
                  <p:spPr bwMode="auto">
                    <a:xfrm>
                      <a:off x="696" y="1259"/>
                      <a:ext cx="25" cy="35"/>
                    </a:xfrm>
                    <a:custGeom>
                      <a:avLst/>
                      <a:gdLst>
                        <a:gd name="T0" fmla="*/ 0 w 350"/>
                        <a:gd name="T1" fmla="*/ 0 h 451"/>
                        <a:gd name="T2" fmla="*/ 0 w 350"/>
                        <a:gd name="T3" fmla="*/ 0 h 451"/>
                        <a:gd name="T4" fmla="*/ 0 w 350"/>
                        <a:gd name="T5" fmla="*/ 0 h 451"/>
                        <a:gd name="T6" fmla="*/ 0 w 350"/>
                        <a:gd name="T7" fmla="*/ 0 h 451"/>
                        <a:gd name="T8" fmla="*/ 0 w 350"/>
                        <a:gd name="T9" fmla="*/ 0 h 45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50"/>
                        <a:gd name="T16" fmla="*/ 0 h 451"/>
                        <a:gd name="T17" fmla="*/ 350 w 350"/>
                        <a:gd name="T18" fmla="*/ 451 h 451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50" h="451">
                          <a:moveTo>
                            <a:pt x="350" y="292"/>
                          </a:moveTo>
                          <a:lnTo>
                            <a:pt x="0" y="451"/>
                          </a:lnTo>
                          <a:lnTo>
                            <a:pt x="0" y="201"/>
                          </a:lnTo>
                          <a:lnTo>
                            <a:pt x="350" y="0"/>
                          </a:lnTo>
                          <a:lnTo>
                            <a:pt x="350" y="292"/>
                          </a:lnTo>
                          <a:close/>
                        </a:path>
                      </a:pathLst>
                    </a:custGeom>
                    <a:solidFill>
                      <a:srgbClr val="FFA040"/>
                    </a:solidFill>
                    <a:ln w="1588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id-ID"/>
                    </a:p>
                  </p:txBody>
                </p:sp>
              </p:grpSp>
            </p:grpSp>
            <p:grpSp>
              <p:nvGrpSpPr>
                <p:cNvPr id="92" name="Group 1604"/>
                <p:cNvGrpSpPr>
                  <a:grpSpLocks/>
                </p:cNvGrpSpPr>
                <p:nvPr/>
              </p:nvGrpSpPr>
              <p:grpSpPr bwMode="auto">
                <a:xfrm>
                  <a:off x="664" y="1305"/>
                  <a:ext cx="78" cy="137"/>
                  <a:chOff x="664" y="1305"/>
                  <a:chExt cx="78" cy="137"/>
                </a:xfrm>
              </p:grpSpPr>
              <p:sp>
                <p:nvSpPr>
                  <p:cNvPr id="208" name="Freeform 1605"/>
                  <p:cNvSpPr>
                    <a:spLocks/>
                  </p:cNvSpPr>
                  <p:nvPr/>
                </p:nvSpPr>
                <p:spPr bwMode="auto">
                  <a:xfrm>
                    <a:off x="682" y="1305"/>
                    <a:ext cx="60" cy="137"/>
                  </a:xfrm>
                  <a:custGeom>
                    <a:avLst/>
                    <a:gdLst>
                      <a:gd name="T0" fmla="*/ 0 w 843"/>
                      <a:gd name="T1" fmla="*/ 0 h 1776"/>
                      <a:gd name="T2" fmla="*/ 0 w 843"/>
                      <a:gd name="T3" fmla="*/ 0 h 1776"/>
                      <a:gd name="T4" fmla="*/ 0 w 843"/>
                      <a:gd name="T5" fmla="*/ 0 h 1776"/>
                      <a:gd name="T6" fmla="*/ 0 w 843"/>
                      <a:gd name="T7" fmla="*/ 0 h 1776"/>
                      <a:gd name="T8" fmla="*/ 0 w 843"/>
                      <a:gd name="T9" fmla="*/ 0 h 177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843"/>
                      <a:gd name="T16" fmla="*/ 0 h 1776"/>
                      <a:gd name="T17" fmla="*/ 843 w 843"/>
                      <a:gd name="T18" fmla="*/ 1776 h 177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843" h="1776">
                        <a:moveTo>
                          <a:pt x="0" y="3"/>
                        </a:moveTo>
                        <a:lnTo>
                          <a:pt x="843" y="0"/>
                        </a:lnTo>
                        <a:lnTo>
                          <a:pt x="843" y="1776"/>
                        </a:lnTo>
                        <a:lnTo>
                          <a:pt x="0" y="1776"/>
                        </a:lnTo>
                        <a:lnTo>
                          <a:pt x="0" y="3"/>
                        </a:lnTo>
                        <a:close/>
                      </a:path>
                    </a:pathLst>
                  </a:custGeom>
                  <a:solidFill>
                    <a:srgbClr val="FFC080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  <p:sp>
                <p:nvSpPr>
                  <p:cNvPr id="209" name="Freeform 1606"/>
                  <p:cNvSpPr>
                    <a:spLocks/>
                  </p:cNvSpPr>
                  <p:nvPr/>
                </p:nvSpPr>
                <p:spPr bwMode="auto">
                  <a:xfrm>
                    <a:off x="664" y="1305"/>
                    <a:ext cx="18" cy="136"/>
                  </a:xfrm>
                  <a:custGeom>
                    <a:avLst/>
                    <a:gdLst>
                      <a:gd name="T0" fmla="*/ 0 w 245"/>
                      <a:gd name="T1" fmla="*/ 0 h 1773"/>
                      <a:gd name="T2" fmla="*/ 0 w 245"/>
                      <a:gd name="T3" fmla="*/ 0 h 1773"/>
                      <a:gd name="T4" fmla="*/ 0 w 245"/>
                      <a:gd name="T5" fmla="*/ 0 h 1773"/>
                      <a:gd name="T6" fmla="*/ 0 w 245"/>
                      <a:gd name="T7" fmla="*/ 0 h 1773"/>
                      <a:gd name="T8" fmla="*/ 0 w 245"/>
                      <a:gd name="T9" fmla="*/ 0 h 177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45"/>
                      <a:gd name="T16" fmla="*/ 0 h 1773"/>
                      <a:gd name="T17" fmla="*/ 245 w 245"/>
                      <a:gd name="T18" fmla="*/ 1773 h 177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45" h="1773">
                        <a:moveTo>
                          <a:pt x="245" y="1773"/>
                        </a:moveTo>
                        <a:lnTo>
                          <a:pt x="0" y="1569"/>
                        </a:lnTo>
                        <a:lnTo>
                          <a:pt x="0" y="102"/>
                        </a:lnTo>
                        <a:lnTo>
                          <a:pt x="245" y="0"/>
                        </a:lnTo>
                        <a:lnTo>
                          <a:pt x="245" y="1773"/>
                        </a:lnTo>
                        <a:close/>
                      </a:path>
                    </a:pathLst>
                  </a:custGeom>
                  <a:solidFill>
                    <a:srgbClr val="FFA040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</p:grpSp>
            <p:grpSp>
              <p:nvGrpSpPr>
                <p:cNvPr id="93" name="Group 1607"/>
                <p:cNvGrpSpPr>
                  <a:grpSpLocks/>
                </p:cNvGrpSpPr>
                <p:nvPr/>
              </p:nvGrpSpPr>
              <p:grpSpPr bwMode="auto">
                <a:xfrm>
                  <a:off x="690" y="1281"/>
                  <a:ext cx="83" cy="181"/>
                  <a:chOff x="690" y="1281"/>
                  <a:chExt cx="83" cy="181"/>
                </a:xfrm>
              </p:grpSpPr>
              <p:sp>
                <p:nvSpPr>
                  <p:cNvPr id="206" name="Rectangle 1608"/>
                  <p:cNvSpPr>
                    <a:spLocks noChangeArrowheads="1"/>
                  </p:cNvSpPr>
                  <p:nvPr/>
                </p:nvSpPr>
                <p:spPr bwMode="auto">
                  <a:xfrm>
                    <a:off x="708" y="1281"/>
                    <a:ext cx="65" cy="181"/>
                  </a:xfrm>
                  <a:prstGeom prst="rect">
                    <a:avLst/>
                  </a:prstGeom>
                  <a:solidFill>
                    <a:srgbClr val="FFC080"/>
                  </a:solidFill>
                  <a:ln w="1588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defTabSz="831526"/>
                    <a:endParaRPr lang="ko-KR" altLang="en-US" sz="1671">
                      <a:solidFill>
                        <a:srgbClr val="000000"/>
                      </a:solidFill>
                      <a:latin typeface="Malgun Gothic" pitchFamily="34" charset="-127"/>
                    </a:endParaRPr>
                  </a:p>
                </p:txBody>
              </p:sp>
              <p:sp>
                <p:nvSpPr>
                  <p:cNvPr id="207" name="Freeform 1609"/>
                  <p:cNvSpPr>
                    <a:spLocks/>
                  </p:cNvSpPr>
                  <p:nvPr/>
                </p:nvSpPr>
                <p:spPr bwMode="auto">
                  <a:xfrm>
                    <a:off x="690" y="1281"/>
                    <a:ext cx="18" cy="181"/>
                  </a:xfrm>
                  <a:custGeom>
                    <a:avLst/>
                    <a:gdLst>
                      <a:gd name="T0" fmla="*/ 0 w 242"/>
                      <a:gd name="T1" fmla="*/ 0 h 2349"/>
                      <a:gd name="T2" fmla="*/ 0 w 242"/>
                      <a:gd name="T3" fmla="*/ 0 h 2349"/>
                      <a:gd name="T4" fmla="*/ 0 w 242"/>
                      <a:gd name="T5" fmla="*/ 0 h 2349"/>
                      <a:gd name="T6" fmla="*/ 0 w 242"/>
                      <a:gd name="T7" fmla="*/ 0 h 2349"/>
                      <a:gd name="T8" fmla="*/ 0 w 242"/>
                      <a:gd name="T9" fmla="*/ 0 h 234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42"/>
                      <a:gd name="T16" fmla="*/ 0 h 2349"/>
                      <a:gd name="T17" fmla="*/ 242 w 242"/>
                      <a:gd name="T18" fmla="*/ 2349 h 234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42" h="2349">
                        <a:moveTo>
                          <a:pt x="242" y="0"/>
                        </a:moveTo>
                        <a:lnTo>
                          <a:pt x="0" y="183"/>
                        </a:lnTo>
                        <a:lnTo>
                          <a:pt x="0" y="2296"/>
                        </a:lnTo>
                        <a:lnTo>
                          <a:pt x="242" y="2349"/>
                        </a:lnTo>
                        <a:lnTo>
                          <a:pt x="242" y="0"/>
                        </a:lnTo>
                        <a:close/>
                      </a:path>
                    </a:pathLst>
                  </a:custGeom>
                  <a:solidFill>
                    <a:srgbClr val="FFA040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</p:grpSp>
            <p:grpSp>
              <p:nvGrpSpPr>
                <p:cNvPr id="94" name="Group 1610"/>
                <p:cNvGrpSpPr>
                  <a:grpSpLocks/>
                </p:cNvGrpSpPr>
                <p:nvPr/>
              </p:nvGrpSpPr>
              <p:grpSpPr bwMode="auto">
                <a:xfrm>
                  <a:off x="553" y="1472"/>
                  <a:ext cx="87" cy="40"/>
                  <a:chOff x="553" y="1472"/>
                  <a:chExt cx="87" cy="40"/>
                </a:xfrm>
              </p:grpSpPr>
              <p:sp>
                <p:nvSpPr>
                  <p:cNvPr id="203" name="Freeform 1611"/>
                  <p:cNvSpPr>
                    <a:spLocks/>
                  </p:cNvSpPr>
                  <p:nvPr/>
                </p:nvSpPr>
                <p:spPr bwMode="auto">
                  <a:xfrm>
                    <a:off x="553" y="1486"/>
                    <a:ext cx="58" cy="26"/>
                  </a:xfrm>
                  <a:custGeom>
                    <a:avLst/>
                    <a:gdLst>
                      <a:gd name="T0" fmla="*/ 0 w 808"/>
                      <a:gd name="T1" fmla="*/ 0 h 338"/>
                      <a:gd name="T2" fmla="*/ 0 w 808"/>
                      <a:gd name="T3" fmla="*/ 0 h 338"/>
                      <a:gd name="T4" fmla="*/ 0 w 808"/>
                      <a:gd name="T5" fmla="*/ 0 h 338"/>
                      <a:gd name="T6" fmla="*/ 0 w 808"/>
                      <a:gd name="T7" fmla="*/ 0 h 338"/>
                      <a:gd name="T8" fmla="*/ 0 w 808"/>
                      <a:gd name="T9" fmla="*/ 0 h 33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808"/>
                      <a:gd name="T16" fmla="*/ 0 h 338"/>
                      <a:gd name="T17" fmla="*/ 808 w 808"/>
                      <a:gd name="T18" fmla="*/ 338 h 33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808" h="338">
                        <a:moveTo>
                          <a:pt x="0" y="2"/>
                        </a:moveTo>
                        <a:lnTo>
                          <a:pt x="0" y="338"/>
                        </a:lnTo>
                        <a:lnTo>
                          <a:pt x="808" y="338"/>
                        </a:lnTo>
                        <a:lnTo>
                          <a:pt x="808" y="0"/>
                        </a:lnTo>
                        <a:lnTo>
                          <a:pt x="0" y="2"/>
                        </a:lnTo>
                        <a:close/>
                      </a:path>
                    </a:pathLst>
                  </a:custGeom>
                  <a:solidFill>
                    <a:srgbClr val="FFA040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  <p:sp>
                <p:nvSpPr>
                  <p:cNvPr id="204" name="Freeform 1612"/>
                  <p:cNvSpPr>
                    <a:spLocks/>
                  </p:cNvSpPr>
                  <p:nvPr/>
                </p:nvSpPr>
                <p:spPr bwMode="auto">
                  <a:xfrm>
                    <a:off x="553" y="1472"/>
                    <a:ext cx="87" cy="14"/>
                  </a:xfrm>
                  <a:custGeom>
                    <a:avLst/>
                    <a:gdLst>
                      <a:gd name="T0" fmla="*/ 0 w 1211"/>
                      <a:gd name="T1" fmla="*/ 0 h 183"/>
                      <a:gd name="T2" fmla="*/ 0 w 1211"/>
                      <a:gd name="T3" fmla="*/ 0 h 183"/>
                      <a:gd name="T4" fmla="*/ 0 w 1211"/>
                      <a:gd name="T5" fmla="*/ 0 h 183"/>
                      <a:gd name="T6" fmla="*/ 0 w 1211"/>
                      <a:gd name="T7" fmla="*/ 0 h 183"/>
                      <a:gd name="T8" fmla="*/ 0 w 1211"/>
                      <a:gd name="T9" fmla="*/ 0 h 18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211"/>
                      <a:gd name="T16" fmla="*/ 0 h 183"/>
                      <a:gd name="T17" fmla="*/ 1211 w 1211"/>
                      <a:gd name="T18" fmla="*/ 183 h 18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211" h="183">
                        <a:moveTo>
                          <a:pt x="0" y="183"/>
                        </a:moveTo>
                        <a:lnTo>
                          <a:pt x="377" y="0"/>
                        </a:lnTo>
                        <a:lnTo>
                          <a:pt x="1211" y="0"/>
                        </a:lnTo>
                        <a:lnTo>
                          <a:pt x="808" y="183"/>
                        </a:lnTo>
                        <a:lnTo>
                          <a:pt x="0" y="183"/>
                        </a:lnTo>
                        <a:close/>
                      </a:path>
                    </a:pathLst>
                  </a:custGeom>
                  <a:solidFill>
                    <a:srgbClr val="FFC080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  <p:sp>
                <p:nvSpPr>
                  <p:cNvPr id="205" name="Freeform 1613"/>
                  <p:cNvSpPr>
                    <a:spLocks/>
                  </p:cNvSpPr>
                  <p:nvPr/>
                </p:nvSpPr>
                <p:spPr bwMode="auto">
                  <a:xfrm>
                    <a:off x="611" y="1472"/>
                    <a:ext cx="29" cy="40"/>
                  </a:xfrm>
                  <a:custGeom>
                    <a:avLst/>
                    <a:gdLst>
                      <a:gd name="T0" fmla="*/ 0 w 403"/>
                      <a:gd name="T1" fmla="*/ 0 h 521"/>
                      <a:gd name="T2" fmla="*/ 0 w 403"/>
                      <a:gd name="T3" fmla="*/ 0 h 521"/>
                      <a:gd name="T4" fmla="*/ 0 w 403"/>
                      <a:gd name="T5" fmla="*/ 0 h 521"/>
                      <a:gd name="T6" fmla="*/ 0 w 403"/>
                      <a:gd name="T7" fmla="*/ 0 h 521"/>
                      <a:gd name="T8" fmla="*/ 0 w 403"/>
                      <a:gd name="T9" fmla="*/ 0 h 52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403"/>
                      <a:gd name="T16" fmla="*/ 0 h 521"/>
                      <a:gd name="T17" fmla="*/ 403 w 403"/>
                      <a:gd name="T18" fmla="*/ 521 h 52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403" h="521">
                        <a:moveTo>
                          <a:pt x="0" y="183"/>
                        </a:moveTo>
                        <a:lnTo>
                          <a:pt x="403" y="0"/>
                        </a:lnTo>
                        <a:lnTo>
                          <a:pt x="403" y="290"/>
                        </a:lnTo>
                        <a:lnTo>
                          <a:pt x="0" y="521"/>
                        </a:lnTo>
                        <a:lnTo>
                          <a:pt x="0" y="183"/>
                        </a:lnTo>
                        <a:close/>
                      </a:path>
                    </a:pathLst>
                  </a:custGeom>
                  <a:solidFill>
                    <a:srgbClr val="FF8000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</p:grpSp>
            <p:grpSp>
              <p:nvGrpSpPr>
                <p:cNvPr id="95" name="Group 1614"/>
                <p:cNvGrpSpPr>
                  <a:grpSpLocks/>
                </p:cNvGrpSpPr>
                <p:nvPr/>
              </p:nvGrpSpPr>
              <p:grpSpPr bwMode="auto">
                <a:xfrm>
                  <a:off x="678" y="1355"/>
                  <a:ext cx="94" cy="125"/>
                  <a:chOff x="678" y="1355"/>
                  <a:chExt cx="94" cy="125"/>
                </a:xfrm>
              </p:grpSpPr>
              <p:sp>
                <p:nvSpPr>
                  <p:cNvPr id="201" name="Freeform 1615"/>
                  <p:cNvSpPr>
                    <a:spLocks/>
                  </p:cNvSpPr>
                  <p:nvPr/>
                </p:nvSpPr>
                <p:spPr bwMode="auto">
                  <a:xfrm>
                    <a:off x="678" y="1356"/>
                    <a:ext cx="73" cy="124"/>
                  </a:xfrm>
                  <a:custGeom>
                    <a:avLst/>
                    <a:gdLst>
                      <a:gd name="T0" fmla="*/ 0 w 1022"/>
                      <a:gd name="T1" fmla="*/ 0 h 1608"/>
                      <a:gd name="T2" fmla="*/ 0 w 1022"/>
                      <a:gd name="T3" fmla="*/ 0 h 1608"/>
                      <a:gd name="T4" fmla="*/ 0 w 1022"/>
                      <a:gd name="T5" fmla="*/ 0 h 1608"/>
                      <a:gd name="T6" fmla="*/ 0 w 1022"/>
                      <a:gd name="T7" fmla="*/ 0 h 1608"/>
                      <a:gd name="T8" fmla="*/ 0 w 1022"/>
                      <a:gd name="T9" fmla="*/ 0 h 160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022"/>
                      <a:gd name="T16" fmla="*/ 0 h 1608"/>
                      <a:gd name="T17" fmla="*/ 1022 w 1022"/>
                      <a:gd name="T18" fmla="*/ 1608 h 160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022" h="1608">
                        <a:moveTo>
                          <a:pt x="0" y="1602"/>
                        </a:moveTo>
                        <a:lnTo>
                          <a:pt x="1022" y="1608"/>
                        </a:lnTo>
                        <a:lnTo>
                          <a:pt x="1022" y="0"/>
                        </a:lnTo>
                        <a:lnTo>
                          <a:pt x="0" y="69"/>
                        </a:lnTo>
                        <a:lnTo>
                          <a:pt x="0" y="1602"/>
                        </a:lnTo>
                        <a:close/>
                      </a:path>
                    </a:pathLst>
                  </a:custGeom>
                  <a:solidFill>
                    <a:srgbClr val="FFC080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  <p:sp>
                <p:nvSpPr>
                  <p:cNvPr id="202" name="Freeform 1616"/>
                  <p:cNvSpPr>
                    <a:spLocks/>
                  </p:cNvSpPr>
                  <p:nvPr/>
                </p:nvSpPr>
                <p:spPr bwMode="auto">
                  <a:xfrm>
                    <a:off x="751" y="1355"/>
                    <a:ext cx="21" cy="125"/>
                  </a:xfrm>
                  <a:custGeom>
                    <a:avLst/>
                    <a:gdLst>
                      <a:gd name="T0" fmla="*/ 0 w 296"/>
                      <a:gd name="T1" fmla="*/ 0 h 1618"/>
                      <a:gd name="T2" fmla="*/ 0 w 296"/>
                      <a:gd name="T3" fmla="*/ 0 h 1618"/>
                      <a:gd name="T4" fmla="*/ 0 w 296"/>
                      <a:gd name="T5" fmla="*/ 0 h 1618"/>
                      <a:gd name="T6" fmla="*/ 0 w 296"/>
                      <a:gd name="T7" fmla="*/ 0 h 1618"/>
                      <a:gd name="T8" fmla="*/ 0 w 296"/>
                      <a:gd name="T9" fmla="*/ 0 h 161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96"/>
                      <a:gd name="T16" fmla="*/ 0 h 1618"/>
                      <a:gd name="T17" fmla="*/ 296 w 296"/>
                      <a:gd name="T18" fmla="*/ 1618 h 161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96" h="1618">
                        <a:moveTo>
                          <a:pt x="0" y="0"/>
                        </a:moveTo>
                        <a:lnTo>
                          <a:pt x="0" y="1618"/>
                        </a:lnTo>
                        <a:lnTo>
                          <a:pt x="296" y="1305"/>
                        </a:lnTo>
                        <a:lnTo>
                          <a:pt x="296" y="21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A040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</p:grpSp>
            <p:grpSp>
              <p:nvGrpSpPr>
                <p:cNvPr id="96" name="Group 1617"/>
                <p:cNvGrpSpPr>
                  <a:grpSpLocks/>
                </p:cNvGrpSpPr>
                <p:nvPr/>
              </p:nvGrpSpPr>
              <p:grpSpPr bwMode="auto">
                <a:xfrm>
                  <a:off x="655" y="1419"/>
                  <a:ext cx="63" cy="82"/>
                  <a:chOff x="655" y="1419"/>
                  <a:chExt cx="63" cy="82"/>
                </a:xfrm>
              </p:grpSpPr>
              <p:sp>
                <p:nvSpPr>
                  <p:cNvPr id="198" name="Rectangle 1618"/>
                  <p:cNvSpPr>
                    <a:spLocks noChangeArrowheads="1"/>
                  </p:cNvSpPr>
                  <p:nvPr/>
                </p:nvSpPr>
                <p:spPr bwMode="auto">
                  <a:xfrm>
                    <a:off x="655" y="1430"/>
                    <a:ext cx="45" cy="70"/>
                  </a:xfrm>
                  <a:prstGeom prst="rect">
                    <a:avLst/>
                  </a:prstGeom>
                  <a:solidFill>
                    <a:srgbClr val="FFC080"/>
                  </a:solidFill>
                  <a:ln w="1588">
                    <a:solidFill>
                      <a:srgbClr val="000000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defTabSz="831526"/>
                    <a:endParaRPr lang="ko-KR" altLang="en-US" sz="1671">
                      <a:solidFill>
                        <a:srgbClr val="000000"/>
                      </a:solidFill>
                      <a:latin typeface="Malgun Gothic" pitchFamily="34" charset="-127"/>
                    </a:endParaRPr>
                  </a:p>
                </p:txBody>
              </p:sp>
              <p:sp>
                <p:nvSpPr>
                  <p:cNvPr id="199" name="Freeform 1619"/>
                  <p:cNvSpPr>
                    <a:spLocks/>
                  </p:cNvSpPr>
                  <p:nvPr/>
                </p:nvSpPr>
                <p:spPr bwMode="auto">
                  <a:xfrm>
                    <a:off x="655" y="1419"/>
                    <a:ext cx="63" cy="11"/>
                  </a:xfrm>
                  <a:custGeom>
                    <a:avLst/>
                    <a:gdLst>
                      <a:gd name="T0" fmla="*/ 0 w 881"/>
                      <a:gd name="T1" fmla="*/ 0 h 143"/>
                      <a:gd name="T2" fmla="*/ 0 w 881"/>
                      <a:gd name="T3" fmla="*/ 0 h 143"/>
                      <a:gd name="T4" fmla="*/ 0 w 881"/>
                      <a:gd name="T5" fmla="*/ 0 h 143"/>
                      <a:gd name="T6" fmla="*/ 0 w 881"/>
                      <a:gd name="T7" fmla="*/ 0 h 143"/>
                      <a:gd name="T8" fmla="*/ 0 w 881"/>
                      <a:gd name="T9" fmla="*/ 0 h 14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881"/>
                      <a:gd name="T16" fmla="*/ 0 h 143"/>
                      <a:gd name="T17" fmla="*/ 881 w 881"/>
                      <a:gd name="T18" fmla="*/ 143 h 14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881" h="143">
                        <a:moveTo>
                          <a:pt x="0" y="143"/>
                        </a:moveTo>
                        <a:lnTo>
                          <a:pt x="330" y="0"/>
                        </a:lnTo>
                        <a:lnTo>
                          <a:pt x="881" y="0"/>
                        </a:lnTo>
                        <a:lnTo>
                          <a:pt x="632" y="143"/>
                        </a:lnTo>
                        <a:lnTo>
                          <a:pt x="0" y="143"/>
                        </a:lnTo>
                        <a:close/>
                      </a:path>
                    </a:pathLst>
                  </a:custGeom>
                  <a:solidFill>
                    <a:srgbClr val="FFE0C0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  <p:sp>
                <p:nvSpPr>
                  <p:cNvPr id="200" name="Freeform 1620"/>
                  <p:cNvSpPr>
                    <a:spLocks/>
                  </p:cNvSpPr>
                  <p:nvPr/>
                </p:nvSpPr>
                <p:spPr bwMode="auto">
                  <a:xfrm>
                    <a:off x="700" y="1419"/>
                    <a:ext cx="17" cy="82"/>
                  </a:xfrm>
                  <a:custGeom>
                    <a:avLst/>
                    <a:gdLst>
                      <a:gd name="T0" fmla="*/ 0 w 243"/>
                      <a:gd name="T1" fmla="*/ 0 h 1057"/>
                      <a:gd name="T2" fmla="*/ 0 w 243"/>
                      <a:gd name="T3" fmla="*/ 0 h 1057"/>
                      <a:gd name="T4" fmla="*/ 0 w 243"/>
                      <a:gd name="T5" fmla="*/ 0 h 1057"/>
                      <a:gd name="T6" fmla="*/ 0 w 243"/>
                      <a:gd name="T7" fmla="*/ 0 h 1057"/>
                      <a:gd name="T8" fmla="*/ 0 w 243"/>
                      <a:gd name="T9" fmla="*/ 0 h 105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43"/>
                      <a:gd name="T16" fmla="*/ 0 h 1057"/>
                      <a:gd name="T17" fmla="*/ 243 w 243"/>
                      <a:gd name="T18" fmla="*/ 1057 h 105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43" h="1057">
                        <a:moveTo>
                          <a:pt x="0" y="1057"/>
                        </a:moveTo>
                        <a:lnTo>
                          <a:pt x="243" y="802"/>
                        </a:lnTo>
                        <a:lnTo>
                          <a:pt x="243" y="0"/>
                        </a:lnTo>
                        <a:lnTo>
                          <a:pt x="0" y="143"/>
                        </a:lnTo>
                        <a:lnTo>
                          <a:pt x="0" y="1057"/>
                        </a:lnTo>
                        <a:close/>
                      </a:path>
                    </a:pathLst>
                  </a:custGeom>
                  <a:solidFill>
                    <a:srgbClr val="FFA040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</p:grpSp>
            <p:grpSp>
              <p:nvGrpSpPr>
                <p:cNvPr id="97" name="Group 1621"/>
                <p:cNvGrpSpPr>
                  <a:grpSpLocks/>
                </p:cNvGrpSpPr>
                <p:nvPr/>
              </p:nvGrpSpPr>
              <p:grpSpPr bwMode="auto">
                <a:xfrm>
                  <a:off x="621" y="1430"/>
                  <a:ext cx="160" cy="104"/>
                  <a:chOff x="621" y="1430"/>
                  <a:chExt cx="160" cy="104"/>
                </a:xfrm>
              </p:grpSpPr>
              <p:sp>
                <p:nvSpPr>
                  <p:cNvPr id="196" name="Freeform 1622"/>
                  <p:cNvSpPr>
                    <a:spLocks/>
                  </p:cNvSpPr>
                  <p:nvPr/>
                </p:nvSpPr>
                <p:spPr bwMode="auto">
                  <a:xfrm>
                    <a:off x="621" y="1430"/>
                    <a:ext cx="160" cy="104"/>
                  </a:xfrm>
                  <a:custGeom>
                    <a:avLst/>
                    <a:gdLst>
                      <a:gd name="T0" fmla="*/ 0 w 2233"/>
                      <a:gd name="T1" fmla="*/ 0 h 1343"/>
                      <a:gd name="T2" fmla="*/ 0 w 2233"/>
                      <a:gd name="T3" fmla="*/ 0 h 1343"/>
                      <a:gd name="T4" fmla="*/ 0 w 2233"/>
                      <a:gd name="T5" fmla="*/ 0 h 1343"/>
                      <a:gd name="T6" fmla="*/ 0 w 2233"/>
                      <a:gd name="T7" fmla="*/ 0 h 1343"/>
                      <a:gd name="T8" fmla="*/ 0 w 2233"/>
                      <a:gd name="T9" fmla="*/ 0 h 134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233"/>
                      <a:gd name="T16" fmla="*/ 0 h 1343"/>
                      <a:gd name="T17" fmla="*/ 2233 w 2233"/>
                      <a:gd name="T18" fmla="*/ 1343 h 134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233" h="1343">
                        <a:moveTo>
                          <a:pt x="1398" y="0"/>
                        </a:moveTo>
                        <a:lnTo>
                          <a:pt x="2233" y="0"/>
                        </a:lnTo>
                        <a:lnTo>
                          <a:pt x="1949" y="1343"/>
                        </a:lnTo>
                        <a:lnTo>
                          <a:pt x="0" y="1343"/>
                        </a:lnTo>
                        <a:lnTo>
                          <a:pt x="1398" y="0"/>
                        </a:lnTo>
                        <a:close/>
                      </a:path>
                    </a:pathLst>
                  </a:custGeom>
                  <a:solidFill>
                    <a:srgbClr val="C0C0C0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  <p:sp>
                <p:nvSpPr>
                  <p:cNvPr id="197" name="Freeform 1623"/>
                  <p:cNvSpPr>
                    <a:spLocks/>
                  </p:cNvSpPr>
                  <p:nvPr/>
                </p:nvSpPr>
                <p:spPr bwMode="auto">
                  <a:xfrm>
                    <a:off x="761" y="1431"/>
                    <a:ext cx="20" cy="102"/>
                  </a:xfrm>
                  <a:custGeom>
                    <a:avLst/>
                    <a:gdLst>
                      <a:gd name="T0" fmla="*/ 0 w 284"/>
                      <a:gd name="T1" fmla="*/ 0 h 1326"/>
                      <a:gd name="T2" fmla="*/ 0 w 284"/>
                      <a:gd name="T3" fmla="*/ 0 h 1326"/>
                      <a:gd name="T4" fmla="*/ 0 w 284"/>
                      <a:gd name="T5" fmla="*/ 0 h 1326"/>
                      <a:gd name="T6" fmla="*/ 0 w 284"/>
                      <a:gd name="T7" fmla="*/ 0 h 1326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284"/>
                      <a:gd name="T13" fmla="*/ 0 h 1326"/>
                      <a:gd name="T14" fmla="*/ 284 w 284"/>
                      <a:gd name="T15" fmla="*/ 1326 h 1326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284" h="1326">
                        <a:moveTo>
                          <a:pt x="284" y="0"/>
                        </a:moveTo>
                        <a:lnTo>
                          <a:pt x="0" y="1326"/>
                        </a:lnTo>
                        <a:lnTo>
                          <a:pt x="284" y="558"/>
                        </a:lnTo>
                        <a:lnTo>
                          <a:pt x="284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</p:grpSp>
            <p:grpSp>
              <p:nvGrpSpPr>
                <p:cNvPr id="98" name="Group 1624"/>
                <p:cNvGrpSpPr>
                  <a:grpSpLocks/>
                </p:cNvGrpSpPr>
                <p:nvPr/>
              </p:nvGrpSpPr>
              <p:grpSpPr bwMode="auto">
                <a:xfrm>
                  <a:off x="829" y="1361"/>
                  <a:ext cx="79" cy="142"/>
                  <a:chOff x="829" y="1361"/>
                  <a:chExt cx="79" cy="142"/>
                </a:xfrm>
              </p:grpSpPr>
              <p:grpSp>
                <p:nvGrpSpPr>
                  <p:cNvPr id="188" name="Group 1625"/>
                  <p:cNvGrpSpPr>
                    <a:grpSpLocks/>
                  </p:cNvGrpSpPr>
                  <p:nvPr/>
                </p:nvGrpSpPr>
                <p:grpSpPr bwMode="auto">
                  <a:xfrm>
                    <a:off x="829" y="1409"/>
                    <a:ext cx="67" cy="94"/>
                    <a:chOff x="829" y="1409"/>
                    <a:chExt cx="67" cy="94"/>
                  </a:xfrm>
                </p:grpSpPr>
                <p:sp>
                  <p:nvSpPr>
                    <p:cNvPr id="193" name="Rectangle 162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829" y="1428"/>
                      <a:ext cx="46" cy="75"/>
                    </a:xfrm>
                    <a:prstGeom prst="rect">
                      <a:avLst/>
                    </a:prstGeom>
                    <a:solidFill>
                      <a:srgbClr val="FFC080"/>
                    </a:solidFill>
                    <a:ln w="1588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831526"/>
                      <a:endParaRPr lang="ko-KR" altLang="en-US" sz="1671">
                        <a:solidFill>
                          <a:srgbClr val="000000"/>
                        </a:solidFill>
                        <a:latin typeface="Malgun Gothic" pitchFamily="34" charset="-127"/>
                      </a:endParaRPr>
                    </a:p>
                  </p:txBody>
                </p:sp>
                <p:sp>
                  <p:nvSpPr>
                    <p:cNvPr id="194" name="Freeform 1627"/>
                    <p:cNvSpPr>
                      <a:spLocks/>
                    </p:cNvSpPr>
                    <p:nvPr/>
                  </p:nvSpPr>
                  <p:spPr bwMode="auto">
                    <a:xfrm>
                      <a:off x="829" y="1409"/>
                      <a:ext cx="67" cy="19"/>
                    </a:xfrm>
                    <a:custGeom>
                      <a:avLst/>
                      <a:gdLst>
                        <a:gd name="T0" fmla="*/ 0 w 942"/>
                        <a:gd name="T1" fmla="*/ 0 h 243"/>
                        <a:gd name="T2" fmla="*/ 0 w 942"/>
                        <a:gd name="T3" fmla="*/ 0 h 243"/>
                        <a:gd name="T4" fmla="*/ 0 w 942"/>
                        <a:gd name="T5" fmla="*/ 0 h 243"/>
                        <a:gd name="T6" fmla="*/ 0 w 942"/>
                        <a:gd name="T7" fmla="*/ 0 h 243"/>
                        <a:gd name="T8" fmla="*/ 0 w 942"/>
                        <a:gd name="T9" fmla="*/ 0 h 24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942"/>
                        <a:gd name="T16" fmla="*/ 0 h 243"/>
                        <a:gd name="T17" fmla="*/ 942 w 942"/>
                        <a:gd name="T18" fmla="*/ 243 h 24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942" h="243">
                          <a:moveTo>
                            <a:pt x="0" y="243"/>
                          </a:moveTo>
                          <a:lnTo>
                            <a:pt x="350" y="0"/>
                          </a:lnTo>
                          <a:lnTo>
                            <a:pt x="942" y="0"/>
                          </a:lnTo>
                          <a:lnTo>
                            <a:pt x="646" y="243"/>
                          </a:lnTo>
                          <a:lnTo>
                            <a:pt x="0" y="243"/>
                          </a:lnTo>
                          <a:close/>
                        </a:path>
                      </a:pathLst>
                    </a:custGeom>
                    <a:solidFill>
                      <a:srgbClr val="FFE0C0"/>
                    </a:solidFill>
                    <a:ln w="1588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id-ID"/>
                    </a:p>
                  </p:txBody>
                </p:sp>
                <p:sp>
                  <p:nvSpPr>
                    <p:cNvPr id="195" name="Freeform 1628"/>
                    <p:cNvSpPr>
                      <a:spLocks/>
                    </p:cNvSpPr>
                    <p:nvPr/>
                  </p:nvSpPr>
                  <p:spPr bwMode="auto">
                    <a:xfrm>
                      <a:off x="875" y="1409"/>
                      <a:ext cx="21" cy="94"/>
                    </a:xfrm>
                    <a:custGeom>
                      <a:avLst/>
                      <a:gdLst>
                        <a:gd name="T0" fmla="*/ 0 w 296"/>
                        <a:gd name="T1" fmla="*/ 0 h 1220"/>
                        <a:gd name="T2" fmla="*/ 0 w 296"/>
                        <a:gd name="T3" fmla="*/ 0 h 1220"/>
                        <a:gd name="T4" fmla="*/ 0 w 296"/>
                        <a:gd name="T5" fmla="*/ 0 h 1220"/>
                        <a:gd name="T6" fmla="*/ 0 w 296"/>
                        <a:gd name="T7" fmla="*/ 0 h 1220"/>
                        <a:gd name="T8" fmla="*/ 0 w 296"/>
                        <a:gd name="T9" fmla="*/ 0 h 1220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96"/>
                        <a:gd name="T16" fmla="*/ 0 h 1220"/>
                        <a:gd name="T17" fmla="*/ 296 w 296"/>
                        <a:gd name="T18" fmla="*/ 1220 h 1220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96" h="1220">
                          <a:moveTo>
                            <a:pt x="296" y="0"/>
                          </a:moveTo>
                          <a:lnTo>
                            <a:pt x="0" y="243"/>
                          </a:lnTo>
                          <a:lnTo>
                            <a:pt x="0" y="1220"/>
                          </a:lnTo>
                          <a:lnTo>
                            <a:pt x="296" y="915"/>
                          </a:lnTo>
                          <a:lnTo>
                            <a:pt x="296" y="0"/>
                          </a:lnTo>
                          <a:close/>
                        </a:path>
                      </a:pathLst>
                    </a:custGeom>
                    <a:solidFill>
                      <a:srgbClr val="FFA040"/>
                    </a:solidFill>
                    <a:ln w="1588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id-ID"/>
                    </a:p>
                  </p:txBody>
                </p:sp>
              </p:grpSp>
              <p:grpSp>
                <p:nvGrpSpPr>
                  <p:cNvPr id="189" name="Group 1629"/>
                  <p:cNvGrpSpPr>
                    <a:grpSpLocks/>
                  </p:cNvGrpSpPr>
                  <p:nvPr/>
                </p:nvGrpSpPr>
                <p:grpSpPr bwMode="auto">
                  <a:xfrm>
                    <a:off x="849" y="1361"/>
                    <a:ext cx="59" cy="70"/>
                    <a:chOff x="849" y="1361"/>
                    <a:chExt cx="59" cy="70"/>
                  </a:xfrm>
                </p:grpSpPr>
                <p:sp>
                  <p:nvSpPr>
                    <p:cNvPr id="190" name="Freeform 1630"/>
                    <p:cNvSpPr>
                      <a:spLocks/>
                    </p:cNvSpPr>
                    <p:nvPr/>
                  </p:nvSpPr>
                  <p:spPr bwMode="auto">
                    <a:xfrm>
                      <a:off x="849" y="1379"/>
                      <a:ext cx="33" cy="52"/>
                    </a:xfrm>
                    <a:custGeom>
                      <a:avLst/>
                      <a:gdLst>
                        <a:gd name="T0" fmla="*/ 0 w 457"/>
                        <a:gd name="T1" fmla="*/ 0 h 678"/>
                        <a:gd name="T2" fmla="*/ 0 w 457"/>
                        <a:gd name="T3" fmla="*/ 0 h 678"/>
                        <a:gd name="T4" fmla="*/ 0 w 457"/>
                        <a:gd name="T5" fmla="*/ 0 h 678"/>
                        <a:gd name="T6" fmla="*/ 0 w 457"/>
                        <a:gd name="T7" fmla="*/ 0 h 678"/>
                        <a:gd name="T8" fmla="*/ 0 w 457"/>
                        <a:gd name="T9" fmla="*/ 0 h 67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457"/>
                        <a:gd name="T16" fmla="*/ 0 h 678"/>
                        <a:gd name="T17" fmla="*/ 457 w 457"/>
                        <a:gd name="T18" fmla="*/ 678 h 67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457" h="678">
                          <a:moveTo>
                            <a:pt x="0" y="0"/>
                          </a:moveTo>
                          <a:lnTo>
                            <a:pt x="457" y="131"/>
                          </a:lnTo>
                          <a:lnTo>
                            <a:pt x="457" y="678"/>
                          </a:lnTo>
                          <a:lnTo>
                            <a:pt x="0" y="5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1588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id-ID"/>
                    </a:p>
                  </p:txBody>
                </p:sp>
                <p:sp>
                  <p:nvSpPr>
                    <p:cNvPr id="191" name="Freeform 1631"/>
                    <p:cNvSpPr>
                      <a:spLocks/>
                    </p:cNvSpPr>
                    <p:nvPr/>
                  </p:nvSpPr>
                  <p:spPr bwMode="auto">
                    <a:xfrm>
                      <a:off x="849" y="1361"/>
                      <a:ext cx="59" cy="28"/>
                    </a:xfrm>
                    <a:custGeom>
                      <a:avLst/>
                      <a:gdLst>
                        <a:gd name="T0" fmla="*/ 0 w 832"/>
                        <a:gd name="T1" fmla="*/ 0 h 364"/>
                        <a:gd name="T2" fmla="*/ 0 w 832"/>
                        <a:gd name="T3" fmla="*/ 0 h 364"/>
                        <a:gd name="T4" fmla="*/ 0 w 832"/>
                        <a:gd name="T5" fmla="*/ 0 h 364"/>
                        <a:gd name="T6" fmla="*/ 0 w 832"/>
                        <a:gd name="T7" fmla="*/ 0 h 364"/>
                        <a:gd name="T8" fmla="*/ 0 w 832"/>
                        <a:gd name="T9" fmla="*/ 0 h 36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832"/>
                        <a:gd name="T16" fmla="*/ 0 h 364"/>
                        <a:gd name="T17" fmla="*/ 832 w 832"/>
                        <a:gd name="T18" fmla="*/ 364 h 36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832" h="364">
                          <a:moveTo>
                            <a:pt x="0" y="233"/>
                          </a:moveTo>
                          <a:lnTo>
                            <a:pt x="457" y="0"/>
                          </a:lnTo>
                          <a:lnTo>
                            <a:pt x="832" y="103"/>
                          </a:lnTo>
                          <a:lnTo>
                            <a:pt x="457" y="364"/>
                          </a:lnTo>
                          <a:lnTo>
                            <a:pt x="0" y="233"/>
                          </a:lnTo>
                          <a:close/>
                        </a:path>
                      </a:pathLst>
                    </a:custGeom>
                    <a:solidFill>
                      <a:srgbClr val="FFE0C0"/>
                    </a:solidFill>
                    <a:ln w="1588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id-ID"/>
                    </a:p>
                  </p:txBody>
                </p:sp>
                <p:sp>
                  <p:nvSpPr>
                    <p:cNvPr id="192" name="Freeform 1632"/>
                    <p:cNvSpPr>
                      <a:spLocks/>
                    </p:cNvSpPr>
                    <p:nvPr/>
                  </p:nvSpPr>
                  <p:spPr bwMode="auto">
                    <a:xfrm>
                      <a:off x="882" y="1369"/>
                      <a:ext cx="26" cy="62"/>
                    </a:xfrm>
                    <a:custGeom>
                      <a:avLst/>
                      <a:gdLst>
                        <a:gd name="T0" fmla="*/ 0 w 375"/>
                        <a:gd name="T1" fmla="*/ 0 h 809"/>
                        <a:gd name="T2" fmla="*/ 0 w 375"/>
                        <a:gd name="T3" fmla="*/ 0 h 809"/>
                        <a:gd name="T4" fmla="*/ 0 w 375"/>
                        <a:gd name="T5" fmla="*/ 0 h 809"/>
                        <a:gd name="T6" fmla="*/ 0 w 375"/>
                        <a:gd name="T7" fmla="*/ 0 h 809"/>
                        <a:gd name="T8" fmla="*/ 0 w 375"/>
                        <a:gd name="T9" fmla="*/ 0 h 809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75"/>
                        <a:gd name="T16" fmla="*/ 0 h 809"/>
                        <a:gd name="T17" fmla="*/ 375 w 375"/>
                        <a:gd name="T18" fmla="*/ 809 h 809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75" h="809">
                          <a:moveTo>
                            <a:pt x="0" y="261"/>
                          </a:moveTo>
                          <a:lnTo>
                            <a:pt x="375" y="0"/>
                          </a:lnTo>
                          <a:lnTo>
                            <a:pt x="375" y="470"/>
                          </a:lnTo>
                          <a:lnTo>
                            <a:pt x="0" y="809"/>
                          </a:lnTo>
                          <a:lnTo>
                            <a:pt x="0" y="261"/>
                          </a:lnTo>
                          <a:close/>
                        </a:path>
                      </a:pathLst>
                    </a:custGeom>
                    <a:solidFill>
                      <a:srgbClr val="FFA040"/>
                    </a:solidFill>
                    <a:ln w="1588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id-ID"/>
                    </a:p>
                  </p:txBody>
                </p:sp>
              </p:grpSp>
            </p:grpSp>
            <p:grpSp>
              <p:nvGrpSpPr>
                <p:cNvPr id="99" name="Group 1633"/>
                <p:cNvGrpSpPr>
                  <a:grpSpLocks/>
                </p:cNvGrpSpPr>
                <p:nvPr/>
              </p:nvGrpSpPr>
              <p:grpSpPr bwMode="auto">
                <a:xfrm>
                  <a:off x="712" y="1373"/>
                  <a:ext cx="66" cy="97"/>
                  <a:chOff x="712" y="1373"/>
                  <a:chExt cx="66" cy="97"/>
                </a:xfrm>
              </p:grpSpPr>
              <p:sp>
                <p:nvSpPr>
                  <p:cNvPr id="185" name="Freeform 1634"/>
                  <p:cNvSpPr>
                    <a:spLocks/>
                  </p:cNvSpPr>
                  <p:nvPr/>
                </p:nvSpPr>
                <p:spPr bwMode="auto">
                  <a:xfrm>
                    <a:off x="756" y="1445"/>
                    <a:ext cx="22" cy="25"/>
                  </a:xfrm>
                  <a:custGeom>
                    <a:avLst/>
                    <a:gdLst>
                      <a:gd name="T0" fmla="*/ 0 w 308"/>
                      <a:gd name="T1" fmla="*/ 0 h 323"/>
                      <a:gd name="T2" fmla="*/ 0 w 308"/>
                      <a:gd name="T3" fmla="*/ 0 h 323"/>
                      <a:gd name="T4" fmla="*/ 0 w 308"/>
                      <a:gd name="T5" fmla="*/ 0 h 323"/>
                      <a:gd name="T6" fmla="*/ 0 w 308"/>
                      <a:gd name="T7" fmla="*/ 0 h 323"/>
                      <a:gd name="T8" fmla="*/ 0 w 308"/>
                      <a:gd name="T9" fmla="*/ 0 h 32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08"/>
                      <a:gd name="T16" fmla="*/ 0 h 323"/>
                      <a:gd name="T17" fmla="*/ 308 w 308"/>
                      <a:gd name="T18" fmla="*/ 323 h 32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08" h="323">
                        <a:moveTo>
                          <a:pt x="0" y="323"/>
                        </a:moveTo>
                        <a:lnTo>
                          <a:pt x="245" y="61"/>
                        </a:lnTo>
                        <a:lnTo>
                          <a:pt x="308" y="0"/>
                        </a:lnTo>
                        <a:lnTo>
                          <a:pt x="263" y="214"/>
                        </a:lnTo>
                        <a:lnTo>
                          <a:pt x="0" y="323"/>
                        </a:lnTo>
                        <a:close/>
                      </a:path>
                    </a:pathLst>
                  </a:custGeom>
                  <a:solidFill>
                    <a:srgbClr val="A0A0A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  <p:sp>
                <p:nvSpPr>
                  <p:cNvPr id="186" name="Freeform 1635"/>
                  <p:cNvSpPr>
                    <a:spLocks/>
                  </p:cNvSpPr>
                  <p:nvPr/>
                </p:nvSpPr>
                <p:spPr bwMode="auto">
                  <a:xfrm>
                    <a:off x="712" y="1373"/>
                    <a:ext cx="45" cy="96"/>
                  </a:xfrm>
                  <a:custGeom>
                    <a:avLst/>
                    <a:gdLst>
                      <a:gd name="T0" fmla="*/ 0 w 621"/>
                      <a:gd name="T1" fmla="*/ 0 h 1252"/>
                      <a:gd name="T2" fmla="*/ 0 w 621"/>
                      <a:gd name="T3" fmla="*/ 0 h 1252"/>
                      <a:gd name="T4" fmla="*/ 0 w 621"/>
                      <a:gd name="T5" fmla="*/ 0 h 1252"/>
                      <a:gd name="T6" fmla="*/ 0 w 621"/>
                      <a:gd name="T7" fmla="*/ 0 h 1252"/>
                      <a:gd name="T8" fmla="*/ 0 w 621"/>
                      <a:gd name="T9" fmla="*/ 0 h 125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21"/>
                      <a:gd name="T16" fmla="*/ 0 h 1252"/>
                      <a:gd name="T17" fmla="*/ 621 w 621"/>
                      <a:gd name="T18" fmla="*/ 1252 h 125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21" h="1252">
                        <a:moveTo>
                          <a:pt x="0" y="1202"/>
                        </a:moveTo>
                        <a:lnTo>
                          <a:pt x="621" y="1252"/>
                        </a:lnTo>
                        <a:lnTo>
                          <a:pt x="621" y="0"/>
                        </a:lnTo>
                        <a:lnTo>
                          <a:pt x="2" y="25"/>
                        </a:lnTo>
                        <a:lnTo>
                          <a:pt x="0" y="1202"/>
                        </a:lnTo>
                        <a:close/>
                      </a:path>
                    </a:pathLst>
                  </a:custGeom>
                  <a:solidFill>
                    <a:srgbClr val="FFC080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  <p:sp>
                <p:nvSpPr>
                  <p:cNvPr id="187" name="Freeform 1636"/>
                  <p:cNvSpPr>
                    <a:spLocks/>
                  </p:cNvSpPr>
                  <p:nvPr/>
                </p:nvSpPr>
                <p:spPr bwMode="auto">
                  <a:xfrm>
                    <a:off x="756" y="1373"/>
                    <a:ext cx="18" cy="96"/>
                  </a:xfrm>
                  <a:custGeom>
                    <a:avLst/>
                    <a:gdLst>
                      <a:gd name="T0" fmla="*/ 0 w 241"/>
                      <a:gd name="T1" fmla="*/ 0 h 1251"/>
                      <a:gd name="T2" fmla="*/ 0 w 241"/>
                      <a:gd name="T3" fmla="*/ 0 h 1251"/>
                      <a:gd name="T4" fmla="*/ 0 w 241"/>
                      <a:gd name="T5" fmla="*/ 0 h 1251"/>
                      <a:gd name="T6" fmla="*/ 0 w 241"/>
                      <a:gd name="T7" fmla="*/ 0 h 1251"/>
                      <a:gd name="T8" fmla="*/ 0 w 241"/>
                      <a:gd name="T9" fmla="*/ 0 h 125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41"/>
                      <a:gd name="T16" fmla="*/ 0 h 1251"/>
                      <a:gd name="T17" fmla="*/ 241 w 241"/>
                      <a:gd name="T18" fmla="*/ 1251 h 125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41" h="1251">
                        <a:moveTo>
                          <a:pt x="0" y="0"/>
                        </a:moveTo>
                        <a:lnTo>
                          <a:pt x="241" y="156"/>
                        </a:lnTo>
                        <a:lnTo>
                          <a:pt x="241" y="990"/>
                        </a:lnTo>
                        <a:lnTo>
                          <a:pt x="0" y="125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A040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</p:grpSp>
            <p:grpSp>
              <p:nvGrpSpPr>
                <p:cNvPr id="100" name="Group 1637"/>
                <p:cNvGrpSpPr>
                  <a:grpSpLocks/>
                </p:cNvGrpSpPr>
                <p:nvPr/>
              </p:nvGrpSpPr>
              <p:grpSpPr bwMode="auto">
                <a:xfrm>
                  <a:off x="781" y="1321"/>
                  <a:ext cx="68" cy="18"/>
                  <a:chOff x="781" y="1321"/>
                  <a:chExt cx="68" cy="18"/>
                </a:xfrm>
              </p:grpSpPr>
              <p:sp>
                <p:nvSpPr>
                  <p:cNvPr id="181" name="Freeform 1638"/>
                  <p:cNvSpPr>
                    <a:spLocks/>
                  </p:cNvSpPr>
                  <p:nvPr/>
                </p:nvSpPr>
                <p:spPr bwMode="auto">
                  <a:xfrm>
                    <a:off x="842" y="1333"/>
                    <a:ext cx="7" cy="4"/>
                  </a:xfrm>
                  <a:custGeom>
                    <a:avLst/>
                    <a:gdLst>
                      <a:gd name="T0" fmla="*/ 0 w 99"/>
                      <a:gd name="T1" fmla="*/ 0 h 44"/>
                      <a:gd name="T2" fmla="*/ 0 w 99"/>
                      <a:gd name="T3" fmla="*/ 0 h 44"/>
                      <a:gd name="T4" fmla="*/ 0 w 99"/>
                      <a:gd name="T5" fmla="*/ 0 h 44"/>
                      <a:gd name="T6" fmla="*/ 0 w 99"/>
                      <a:gd name="T7" fmla="*/ 0 h 44"/>
                      <a:gd name="T8" fmla="*/ 0 w 99"/>
                      <a:gd name="T9" fmla="*/ 0 h 44"/>
                      <a:gd name="T10" fmla="*/ 0 w 99"/>
                      <a:gd name="T11" fmla="*/ 0 h 44"/>
                      <a:gd name="T12" fmla="*/ 0 w 99"/>
                      <a:gd name="T13" fmla="*/ 0 h 44"/>
                      <a:gd name="T14" fmla="*/ 0 w 99"/>
                      <a:gd name="T15" fmla="*/ 0 h 44"/>
                      <a:gd name="T16" fmla="*/ 0 w 99"/>
                      <a:gd name="T17" fmla="*/ 0 h 44"/>
                      <a:gd name="T18" fmla="*/ 0 w 99"/>
                      <a:gd name="T19" fmla="*/ 0 h 44"/>
                      <a:gd name="T20" fmla="*/ 0 w 99"/>
                      <a:gd name="T21" fmla="*/ 0 h 44"/>
                      <a:gd name="T22" fmla="*/ 0 w 99"/>
                      <a:gd name="T23" fmla="*/ 0 h 44"/>
                      <a:gd name="T24" fmla="*/ 0 w 99"/>
                      <a:gd name="T25" fmla="*/ 0 h 44"/>
                      <a:gd name="T26" fmla="*/ 0 w 99"/>
                      <a:gd name="T27" fmla="*/ 0 h 44"/>
                      <a:gd name="T28" fmla="*/ 0 w 99"/>
                      <a:gd name="T29" fmla="*/ 0 h 44"/>
                      <a:gd name="T30" fmla="*/ 0 w 99"/>
                      <a:gd name="T31" fmla="*/ 0 h 44"/>
                      <a:gd name="T32" fmla="*/ 0 w 99"/>
                      <a:gd name="T33" fmla="*/ 0 h 44"/>
                      <a:gd name="T34" fmla="*/ 0 w 99"/>
                      <a:gd name="T35" fmla="*/ 0 h 44"/>
                      <a:gd name="T36" fmla="*/ 0 w 99"/>
                      <a:gd name="T37" fmla="*/ 0 h 44"/>
                      <a:gd name="T38" fmla="*/ 0 w 99"/>
                      <a:gd name="T39" fmla="*/ 0 h 44"/>
                      <a:gd name="T40" fmla="*/ 0 w 99"/>
                      <a:gd name="T41" fmla="*/ 0 h 44"/>
                      <a:gd name="T42" fmla="*/ 0 w 99"/>
                      <a:gd name="T43" fmla="*/ 0 h 44"/>
                      <a:gd name="T44" fmla="*/ 0 w 99"/>
                      <a:gd name="T45" fmla="*/ 0 h 44"/>
                      <a:gd name="T46" fmla="*/ 0 w 99"/>
                      <a:gd name="T47" fmla="*/ 0 h 44"/>
                      <a:gd name="T48" fmla="*/ 0 w 99"/>
                      <a:gd name="T49" fmla="*/ 0 h 44"/>
                      <a:gd name="T50" fmla="*/ 0 w 99"/>
                      <a:gd name="T51" fmla="*/ 0 h 44"/>
                      <a:gd name="T52" fmla="*/ 0 w 99"/>
                      <a:gd name="T53" fmla="*/ 0 h 44"/>
                      <a:gd name="T54" fmla="*/ 0 w 99"/>
                      <a:gd name="T55" fmla="*/ 0 h 44"/>
                      <a:gd name="T56" fmla="*/ 0 w 99"/>
                      <a:gd name="T57" fmla="*/ 0 h 44"/>
                      <a:gd name="T58" fmla="*/ 0 w 99"/>
                      <a:gd name="T59" fmla="*/ 0 h 44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w 99"/>
                      <a:gd name="T91" fmla="*/ 0 h 44"/>
                      <a:gd name="T92" fmla="*/ 99 w 99"/>
                      <a:gd name="T93" fmla="*/ 44 h 44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T90" t="T91" r="T92" b="T93"/>
                    <a:pathLst>
                      <a:path w="99" h="44">
                        <a:moveTo>
                          <a:pt x="0" y="44"/>
                        </a:moveTo>
                        <a:lnTo>
                          <a:pt x="25" y="20"/>
                        </a:lnTo>
                        <a:lnTo>
                          <a:pt x="31" y="13"/>
                        </a:lnTo>
                        <a:lnTo>
                          <a:pt x="36" y="12"/>
                        </a:lnTo>
                        <a:lnTo>
                          <a:pt x="41" y="9"/>
                        </a:lnTo>
                        <a:lnTo>
                          <a:pt x="48" y="4"/>
                        </a:lnTo>
                        <a:lnTo>
                          <a:pt x="53" y="3"/>
                        </a:lnTo>
                        <a:lnTo>
                          <a:pt x="58" y="1"/>
                        </a:lnTo>
                        <a:lnTo>
                          <a:pt x="64" y="0"/>
                        </a:lnTo>
                        <a:lnTo>
                          <a:pt x="71" y="0"/>
                        </a:lnTo>
                        <a:lnTo>
                          <a:pt x="76" y="0"/>
                        </a:lnTo>
                        <a:lnTo>
                          <a:pt x="80" y="0"/>
                        </a:lnTo>
                        <a:lnTo>
                          <a:pt x="85" y="1"/>
                        </a:lnTo>
                        <a:lnTo>
                          <a:pt x="87" y="3"/>
                        </a:lnTo>
                        <a:lnTo>
                          <a:pt x="92" y="7"/>
                        </a:lnTo>
                        <a:lnTo>
                          <a:pt x="97" y="12"/>
                        </a:lnTo>
                        <a:lnTo>
                          <a:pt x="98" y="14"/>
                        </a:lnTo>
                        <a:lnTo>
                          <a:pt x="99" y="23"/>
                        </a:lnTo>
                        <a:lnTo>
                          <a:pt x="98" y="31"/>
                        </a:lnTo>
                        <a:lnTo>
                          <a:pt x="97" y="34"/>
                        </a:lnTo>
                        <a:lnTo>
                          <a:pt x="92" y="37"/>
                        </a:lnTo>
                        <a:lnTo>
                          <a:pt x="86" y="40"/>
                        </a:lnTo>
                        <a:lnTo>
                          <a:pt x="80" y="43"/>
                        </a:lnTo>
                        <a:lnTo>
                          <a:pt x="71" y="43"/>
                        </a:lnTo>
                        <a:lnTo>
                          <a:pt x="64" y="39"/>
                        </a:lnTo>
                        <a:lnTo>
                          <a:pt x="53" y="36"/>
                        </a:lnTo>
                        <a:lnTo>
                          <a:pt x="45" y="36"/>
                        </a:lnTo>
                        <a:lnTo>
                          <a:pt x="34" y="36"/>
                        </a:lnTo>
                        <a:lnTo>
                          <a:pt x="21" y="37"/>
                        </a:lnTo>
                        <a:lnTo>
                          <a:pt x="0" y="44"/>
                        </a:lnTo>
                        <a:close/>
                      </a:path>
                    </a:pathLst>
                  </a:custGeom>
                  <a:solidFill>
                    <a:srgbClr val="C0FFFF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  <p:sp>
                <p:nvSpPr>
                  <p:cNvPr id="182" name="Freeform 1639"/>
                  <p:cNvSpPr>
                    <a:spLocks/>
                  </p:cNvSpPr>
                  <p:nvPr/>
                </p:nvSpPr>
                <p:spPr bwMode="auto">
                  <a:xfrm>
                    <a:off x="781" y="1337"/>
                    <a:ext cx="4" cy="2"/>
                  </a:xfrm>
                  <a:custGeom>
                    <a:avLst/>
                    <a:gdLst>
                      <a:gd name="T0" fmla="*/ 0 w 65"/>
                      <a:gd name="T1" fmla="*/ 0 h 30"/>
                      <a:gd name="T2" fmla="*/ 0 w 65"/>
                      <a:gd name="T3" fmla="*/ 0 h 30"/>
                      <a:gd name="T4" fmla="*/ 0 w 65"/>
                      <a:gd name="T5" fmla="*/ 0 h 30"/>
                      <a:gd name="T6" fmla="*/ 0 w 65"/>
                      <a:gd name="T7" fmla="*/ 0 h 30"/>
                      <a:gd name="T8" fmla="*/ 0 w 65"/>
                      <a:gd name="T9" fmla="*/ 0 h 30"/>
                      <a:gd name="T10" fmla="*/ 0 w 65"/>
                      <a:gd name="T11" fmla="*/ 0 h 30"/>
                      <a:gd name="T12" fmla="*/ 0 w 65"/>
                      <a:gd name="T13" fmla="*/ 0 h 30"/>
                      <a:gd name="T14" fmla="*/ 0 w 65"/>
                      <a:gd name="T15" fmla="*/ 0 h 30"/>
                      <a:gd name="T16" fmla="*/ 0 w 65"/>
                      <a:gd name="T17" fmla="*/ 0 h 30"/>
                      <a:gd name="T18" fmla="*/ 0 w 65"/>
                      <a:gd name="T19" fmla="*/ 0 h 30"/>
                      <a:gd name="T20" fmla="*/ 0 w 65"/>
                      <a:gd name="T21" fmla="*/ 0 h 30"/>
                      <a:gd name="T22" fmla="*/ 0 w 65"/>
                      <a:gd name="T23" fmla="*/ 0 h 30"/>
                      <a:gd name="T24" fmla="*/ 0 w 65"/>
                      <a:gd name="T25" fmla="*/ 0 h 30"/>
                      <a:gd name="T26" fmla="*/ 0 w 65"/>
                      <a:gd name="T27" fmla="*/ 0 h 30"/>
                      <a:gd name="T28" fmla="*/ 0 w 65"/>
                      <a:gd name="T29" fmla="*/ 0 h 30"/>
                      <a:gd name="T30" fmla="*/ 0 w 65"/>
                      <a:gd name="T31" fmla="*/ 0 h 30"/>
                      <a:gd name="T32" fmla="*/ 0 w 65"/>
                      <a:gd name="T33" fmla="*/ 0 h 30"/>
                      <a:gd name="T34" fmla="*/ 0 w 65"/>
                      <a:gd name="T35" fmla="*/ 0 h 30"/>
                      <a:gd name="T36" fmla="*/ 0 w 65"/>
                      <a:gd name="T37" fmla="*/ 0 h 30"/>
                      <a:gd name="T38" fmla="*/ 0 w 65"/>
                      <a:gd name="T39" fmla="*/ 0 h 30"/>
                      <a:gd name="T40" fmla="*/ 0 w 65"/>
                      <a:gd name="T41" fmla="*/ 0 h 30"/>
                      <a:gd name="T42" fmla="*/ 0 w 65"/>
                      <a:gd name="T43" fmla="*/ 0 h 30"/>
                      <a:gd name="T44" fmla="*/ 0 w 65"/>
                      <a:gd name="T45" fmla="*/ 0 h 30"/>
                      <a:gd name="T46" fmla="*/ 0 w 65"/>
                      <a:gd name="T47" fmla="*/ 0 h 30"/>
                      <a:gd name="T48" fmla="*/ 0 w 65"/>
                      <a:gd name="T49" fmla="*/ 0 h 30"/>
                      <a:gd name="T50" fmla="*/ 0 w 65"/>
                      <a:gd name="T51" fmla="*/ 0 h 30"/>
                      <a:gd name="T52" fmla="*/ 0 w 65"/>
                      <a:gd name="T53" fmla="*/ 0 h 30"/>
                      <a:gd name="T54" fmla="*/ 0 w 65"/>
                      <a:gd name="T55" fmla="*/ 0 h 30"/>
                      <a:gd name="T56" fmla="*/ 0 w 65"/>
                      <a:gd name="T57" fmla="*/ 0 h 30"/>
                      <a:gd name="T58" fmla="*/ 0 w 65"/>
                      <a:gd name="T59" fmla="*/ 0 h 30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w 65"/>
                      <a:gd name="T91" fmla="*/ 0 h 30"/>
                      <a:gd name="T92" fmla="*/ 65 w 65"/>
                      <a:gd name="T93" fmla="*/ 30 h 30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T90" t="T91" r="T92" b="T93"/>
                    <a:pathLst>
                      <a:path w="65" h="30">
                        <a:moveTo>
                          <a:pt x="65" y="30"/>
                        </a:moveTo>
                        <a:lnTo>
                          <a:pt x="48" y="13"/>
                        </a:lnTo>
                        <a:lnTo>
                          <a:pt x="45" y="9"/>
                        </a:lnTo>
                        <a:lnTo>
                          <a:pt x="42" y="7"/>
                        </a:lnTo>
                        <a:lnTo>
                          <a:pt x="40" y="6"/>
                        </a:lnTo>
                        <a:lnTo>
                          <a:pt x="34" y="2"/>
                        </a:lnTo>
                        <a:lnTo>
                          <a:pt x="30" y="2"/>
                        </a:lnTo>
                        <a:lnTo>
                          <a:pt x="27" y="1"/>
                        </a:lnTo>
                        <a:lnTo>
                          <a:pt x="25" y="0"/>
                        </a:lnTo>
                        <a:lnTo>
                          <a:pt x="19" y="0"/>
                        </a:lnTo>
                        <a:lnTo>
                          <a:pt x="16" y="0"/>
                        </a:lnTo>
                        <a:lnTo>
                          <a:pt x="13" y="0"/>
                        </a:lnTo>
                        <a:lnTo>
                          <a:pt x="10" y="1"/>
                        </a:lnTo>
                        <a:lnTo>
                          <a:pt x="6" y="2"/>
                        </a:lnTo>
                        <a:lnTo>
                          <a:pt x="3" y="4"/>
                        </a:lnTo>
                        <a:lnTo>
                          <a:pt x="2" y="7"/>
                        </a:lnTo>
                        <a:lnTo>
                          <a:pt x="0" y="9"/>
                        </a:lnTo>
                        <a:lnTo>
                          <a:pt x="0" y="16"/>
                        </a:lnTo>
                        <a:lnTo>
                          <a:pt x="0" y="20"/>
                        </a:lnTo>
                        <a:lnTo>
                          <a:pt x="2" y="22"/>
                        </a:lnTo>
                        <a:lnTo>
                          <a:pt x="3" y="27"/>
                        </a:lnTo>
                        <a:lnTo>
                          <a:pt x="9" y="28"/>
                        </a:lnTo>
                        <a:lnTo>
                          <a:pt x="13" y="28"/>
                        </a:lnTo>
                        <a:lnTo>
                          <a:pt x="19" y="28"/>
                        </a:lnTo>
                        <a:lnTo>
                          <a:pt x="25" y="27"/>
                        </a:lnTo>
                        <a:lnTo>
                          <a:pt x="30" y="26"/>
                        </a:lnTo>
                        <a:lnTo>
                          <a:pt x="36" y="26"/>
                        </a:lnTo>
                        <a:lnTo>
                          <a:pt x="44" y="26"/>
                        </a:lnTo>
                        <a:lnTo>
                          <a:pt x="54" y="27"/>
                        </a:lnTo>
                        <a:lnTo>
                          <a:pt x="65" y="30"/>
                        </a:lnTo>
                        <a:close/>
                      </a:path>
                    </a:pathLst>
                  </a:custGeom>
                  <a:solidFill>
                    <a:srgbClr val="C0FFFF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  <p:sp>
                <p:nvSpPr>
                  <p:cNvPr id="183" name="Freeform 1640"/>
                  <p:cNvSpPr>
                    <a:spLocks/>
                  </p:cNvSpPr>
                  <p:nvPr/>
                </p:nvSpPr>
                <p:spPr bwMode="auto">
                  <a:xfrm>
                    <a:off x="826" y="1321"/>
                    <a:ext cx="8" cy="6"/>
                  </a:xfrm>
                  <a:custGeom>
                    <a:avLst/>
                    <a:gdLst>
                      <a:gd name="T0" fmla="*/ 0 w 112"/>
                      <a:gd name="T1" fmla="*/ 0 h 80"/>
                      <a:gd name="T2" fmla="*/ 0 w 112"/>
                      <a:gd name="T3" fmla="*/ 0 h 80"/>
                      <a:gd name="T4" fmla="*/ 0 w 112"/>
                      <a:gd name="T5" fmla="*/ 0 h 80"/>
                      <a:gd name="T6" fmla="*/ 0 w 112"/>
                      <a:gd name="T7" fmla="*/ 0 h 80"/>
                      <a:gd name="T8" fmla="*/ 0 w 112"/>
                      <a:gd name="T9" fmla="*/ 0 h 80"/>
                      <a:gd name="T10" fmla="*/ 0 w 112"/>
                      <a:gd name="T11" fmla="*/ 0 h 80"/>
                      <a:gd name="T12" fmla="*/ 0 w 112"/>
                      <a:gd name="T13" fmla="*/ 0 h 80"/>
                      <a:gd name="T14" fmla="*/ 0 w 112"/>
                      <a:gd name="T15" fmla="*/ 0 h 80"/>
                      <a:gd name="T16" fmla="*/ 0 w 112"/>
                      <a:gd name="T17" fmla="*/ 0 h 80"/>
                      <a:gd name="T18" fmla="*/ 0 w 112"/>
                      <a:gd name="T19" fmla="*/ 0 h 80"/>
                      <a:gd name="T20" fmla="*/ 0 w 112"/>
                      <a:gd name="T21" fmla="*/ 0 h 80"/>
                      <a:gd name="T22" fmla="*/ 0 w 112"/>
                      <a:gd name="T23" fmla="*/ 0 h 80"/>
                      <a:gd name="T24" fmla="*/ 0 w 112"/>
                      <a:gd name="T25" fmla="*/ 0 h 80"/>
                      <a:gd name="T26" fmla="*/ 0 w 112"/>
                      <a:gd name="T27" fmla="*/ 0 h 80"/>
                      <a:gd name="T28" fmla="*/ 0 w 112"/>
                      <a:gd name="T29" fmla="*/ 0 h 80"/>
                      <a:gd name="T30" fmla="*/ 0 w 112"/>
                      <a:gd name="T31" fmla="*/ 0 h 80"/>
                      <a:gd name="T32" fmla="*/ 0 w 112"/>
                      <a:gd name="T33" fmla="*/ 0 h 80"/>
                      <a:gd name="T34" fmla="*/ 0 w 112"/>
                      <a:gd name="T35" fmla="*/ 0 h 80"/>
                      <a:gd name="T36" fmla="*/ 0 w 112"/>
                      <a:gd name="T37" fmla="*/ 0 h 80"/>
                      <a:gd name="T38" fmla="*/ 0 w 112"/>
                      <a:gd name="T39" fmla="*/ 0 h 80"/>
                      <a:gd name="T40" fmla="*/ 0 w 112"/>
                      <a:gd name="T41" fmla="*/ 0 h 80"/>
                      <a:gd name="T42" fmla="*/ 0 w 112"/>
                      <a:gd name="T43" fmla="*/ 0 h 80"/>
                      <a:gd name="T44" fmla="*/ 0 w 112"/>
                      <a:gd name="T45" fmla="*/ 0 h 80"/>
                      <a:gd name="T46" fmla="*/ 0 w 112"/>
                      <a:gd name="T47" fmla="*/ 0 h 80"/>
                      <a:gd name="T48" fmla="*/ 0 w 112"/>
                      <a:gd name="T49" fmla="*/ 0 h 80"/>
                      <a:gd name="T50" fmla="*/ 0 w 112"/>
                      <a:gd name="T51" fmla="*/ 0 h 80"/>
                      <a:gd name="T52" fmla="*/ 0 w 112"/>
                      <a:gd name="T53" fmla="*/ 0 h 80"/>
                      <a:gd name="T54" fmla="*/ 0 w 112"/>
                      <a:gd name="T55" fmla="*/ 0 h 80"/>
                      <a:gd name="T56" fmla="*/ 0 w 112"/>
                      <a:gd name="T57" fmla="*/ 0 h 80"/>
                      <a:gd name="T58" fmla="*/ 0 w 112"/>
                      <a:gd name="T59" fmla="*/ 0 h 80"/>
                      <a:gd name="T60" fmla="*/ 0 w 112"/>
                      <a:gd name="T61" fmla="*/ 0 h 80"/>
                      <a:gd name="T62" fmla="*/ 0 w 112"/>
                      <a:gd name="T63" fmla="*/ 0 h 80"/>
                      <a:gd name="T64" fmla="*/ 0 w 112"/>
                      <a:gd name="T65" fmla="*/ 0 h 80"/>
                      <a:gd name="T66" fmla="*/ 0 w 112"/>
                      <a:gd name="T67" fmla="*/ 0 h 80"/>
                      <a:gd name="T68" fmla="*/ 0 w 112"/>
                      <a:gd name="T69" fmla="*/ 0 h 80"/>
                      <a:gd name="T70" fmla="*/ 0 w 112"/>
                      <a:gd name="T71" fmla="*/ 0 h 80"/>
                      <a:gd name="T72" fmla="*/ 0 w 112"/>
                      <a:gd name="T73" fmla="*/ 0 h 80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112"/>
                      <a:gd name="T112" fmla="*/ 0 h 80"/>
                      <a:gd name="T113" fmla="*/ 112 w 112"/>
                      <a:gd name="T114" fmla="*/ 80 h 80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112" h="80">
                        <a:moveTo>
                          <a:pt x="0" y="80"/>
                        </a:moveTo>
                        <a:lnTo>
                          <a:pt x="5" y="69"/>
                        </a:lnTo>
                        <a:lnTo>
                          <a:pt x="9" y="52"/>
                        </a:lnTo>
                        <a:lnTo>
                          <a:pt x="17" y="41"/>
                        </a:lnTo>
                        <a:lnTo>
                          <a:pt x="24" y="28"/>
                        </a:lnTo>
                        <a:lnTo>
                          <a:pt x="32" y="19"/>
                        </a:lnTo>
                        <a:lnTo>
                          <a:pt x="39" y="12"/>
                        </a:lnTo>
                        <a:lnTo>
                          <a:pt x="46" y="6"/>
                        </a:lnTo>
                        <a:lnTo>
                          <a:pt x="56" y="3"/>
                        </a:lnTo>
                        <a:lnTo>
                          <a:pt x="66" y="0"/>
                        </a:lnTo>
                        <a:lnTo>
                          <a:pt x="76" y="0"/>
                        </a:lnTo>
                        <a:lnTo>
                          <a:pt x="88" y="0"/>
                        </a:lnTo>
                        <a:lnTo>
                          <a:pt x="99" y="1"/>
                        </a:lnTo>
                        <a:lnTo>
                          <a:pt x="102" y="4"/>
                        </a:lnTo>
                        <a:lnTo>
                          <a:pt x="107" y="6"/>
                        </a:lnTo>
                        <a:lnTo>
                          <a:pt x="109" y="11"/>
                        </a:lnTo>
                        <a:lnTo>
                          <a:pt x="112" y="14"/>
                        </a:lnTo>
                        <a:lnTo>
                          <a:pt x="112" y="19"/>
                        </a:lnTo>
                        <a:lnTo>
                          <a:pt x="112" y="25"/>
                        </a:lnTo>
                        <a:lnTo>
                          <a:pt x="107" y="32"/>
                        </a:lnTo>
                        <a:lnTo>
                          <a:pt x="106" y="34"/>
                        </a:lnTo>
                        <a:lnTo>
                          <a:pt x="102" y="38"/>
                        </a:lnTo>
                        <a:lnTo>
                          <a:pt x="99" y="39"/>
                        </a:lnTo>
                        <a:lnTo>
                          <a:pt x="94" y="41"/>
                        </a:lnTo>
                        <a:lnTo>
                          <a:pt x="87" y="42"/>
                        </a:lnTo>
                        <a:lnTo>
                          <a:pt x="81" y="44"/>
                        </a:lnTo>
                        <a:lnTo>
                          <a:pt x="74" y="44"/>
                        </a:lnTo>
                        <a:lnTo>
                          <a:pt x="69" y="42"/>
                        </a:lnTo>
                        <a:lnTo>
                          <a:pt x="60" y="42"/>
                        </a:lnTo>
                        <a:lnTo>
                          <a:pt x="52" y="44"/>
                        </a:lnTo>
                        <a:lnTo>
                          <a:pt x="43" y="46"/>
                        </a:lnTo>
                        <a:lnTo>
                          <a:pt x="38" y="50"/>
                        </a:lnTo>
                        <a:lnTo>
                          <a:pt x="30" y="54"/>
                        </a:lnTo>
                        <a:lnTo>
                          <a:pt x="21" y="60"/>
                        </a:lnTo>
                        <a:lnTo>
                          <a:pt x="12" y="66"/>
                        </a:lnTo>
                        <a:lnTo>
                          <a:pt x="8" y="72"/>
                        </a:lnTo>
                        <a:lnTo>
                          <a:pt x="0" y="80"/>
                        </a:lnTo>
                        <a:close/>
                      </a:path>
                    </a:pathLst>
                  </a:custGeom>
                  <a:solidFill>
                    <a:srgbClr val="C0FFFF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  <p:sp>
                <p:nvSpPr>
                  <p:cNvPr id="184" name="Freeform 1641"/>
                  <p:cNvSpPr>
                    <a:spLocks/>
                  </p:cNvSpPr>
                  <p:nvPr/>
                </p:nvSpPr>
                <p:spPr bwMode="auto">
                  <a:xfrm>
                    <a:off x="790" y="1322"/>
                    <a:ext cx="8" cy="6"/>
                  </a:xfrm>
                  <a:custGeom>
                    <a:avLst/>
                    <a:gdLst>
                      <a:gd name="T0" fmla="*/ 0 w 111"/>
                      <a:gd name="T1" fmla="*/ 0 h 79"/>
                      <a:gd name="T2" fmla="*/ 0 w 111"/>
                      <a:gd name="T3" fmla="*/ 0 h 79"/>
                      <a:gd name="T4" fmla="*/ 0 w 111"/>
                      <a:gd name="T5" fmla="*/ 0 h 79"/>
                      <a:gd name="T6" fmla="*/ 0 w 111"/>
                      <a:gd name="T7" fmla="*/ 0 h 79"/>
                      <a:gd name="T8" fmla="*/ 0 w 111"/>
                      <a:gd name="T9" fmla="*/ 0 h 79"/>
                      <a:gd name="T10" fmla="*/ 0 w 111"/>
                      <a:gd name="T11" fmla="*/ 0 h 79"/>
                      <a:gd name="T12" fmla="*/ 0 w 111"/>
                      <a:gd name="T13" fmla="*/ 0 h 79"/>
                      <a:gd name="T14" fmla="*/ 0 w 111"/>
                      <a:gd name="T15" fmla="*/ 0 h 79"/>
                      <a:gd name="T16" fmla="*/ 0 w 111"/>
                      <a:gd name="T17" fmla="*/ 0 h 79"/>
                      <a:gd name="T18" fmla="*/ 0 w 111"/>
                      <a:gd name="T19" fmla="*/ 0 h 79"/>
                      <a:gd name="T20" fmla="*/ 0 w 111"/>
                      <a:gd name="T21" fmla="*/ 0 h 79"/>
                      <a:gd name="T22" fmla="*/ 0 w 111"/>
                      <a:gd name="T23" fmla="*/ 0 h 79"/>
                      <a:gd name="T24" fmla="*/ 0 w 111"/>
                      <a:gd name="T25" fmla="*/ 0 h 79"/>
                      <a:gd name="T26" fmla="*/ 0 w 111"/>
                      <a:gd name="T27" fmla="*/ 0 h 79"/>
                      <a:gd name="T28" fmla="*/ 0 w 111"/>
                      <a:gd name="T29" fmla="*/ 0 h 79"/>
                      <a:gd name="T30" fmla="*/ 0 w 111"/>
                      <a:gd name="T31" fmla="*/ 0 h 79"/>
                      <a:gd name="T32" fmla="*/ 0 w 111"/>
                      <a:gd name="T33" fmla="*/ 0 h 79"/>
                      <a:gd name="T34" fmla="*/ 0 w 111"/>
                      <a:gd name="T35" fmla="*/ 0 h 79"/>
                      <a:gd name="T36" fmla="*/ 0 w 111"/>
                      <a:gd name="T37" fmla="*/ 0 h 79"/>
                      <a:gd name="T38" fmla="*/ 0 w 111"/>
                      <a:gd name="T39" fmla="*/ 0 h 79"/>
                      <a:gd name="T40" fmla="*/ 0 w 111"/>
                      <a:gd name="T41" fmla="*/ 0 h 79"/>
                      <a:gd name="T42" fmla="*/ 0 w 111"/>
                      <a:gd name="T43" fmla="*/ 0 h 79"/>
                      <a:gd name="T44" fmla="*/ 0 w 111"/>
                      <a:gd name="T45" fmla="*/ 0 h 79"/>
                      <a:gd name="T46" fmla="*/ 0 w 111"/>
                      <a:gd name="T47" fmla="*/ 0 h 79"/>
                      <a:gd name="T48" fmla="*/ 0 w 111"/>
                      <a:gd name="T49" fmla="*/ 0 h 79"/>
                      <a:gd name="T50" fmla="*/ 0 w 111"/>
                      <a:gd name="T51" fmla="*/ 0 h 79"/>
                      <a:gd name="T52" fmla="*/ 0 w 111"/>
                      <a:gd name="T53" fmla="*/ 0 h 79"/>
                      <a:gd name="T54" fmla="*/ 0 w 111"/>
                      <a:gd name="T55" fmla="*/ 0 h 79"/>
                      <a:gd name="T56" fmla="*/ 0 w 111"/>
                      <a:gd name="T57" fmla="*/ 0 h 79"/>
                      <a:gd name="T58" fmla="*/ 0 w 111"/>
                      <a:gd name="T59" fmla="*/ 0 h 79"/>
                      <a:gd name="T60" fmla="*/ 0 w 111"/>
                      <a:gd name="T61" fmla="*/ 0 h 79"/>
                      <a:gd name="T62" fmla="*/ 0 w 111"/>
                      <a:gd name="T63" fmla="*/ 0 h 79"/>
                      <a:gd name="T64" fmla="*/ 0 w 111"/>
                      <a:gd name="T65" fmla="*/ 0 h 79"/>
                      <a:gd name="T66" fmla="*/ 0 w 111"/>
                      <a:gd name="T67" fmla="*/ 0 h 79"/>
                      <a:gd name="T68" fmla="*/ 0 w 111"/>
                      <a:gd name="T69" fmla="*/ 0 h 79"/>
                      <a:gd name="T70" fmla="*/ 0 w 111"/>
                      <a:gd name="T71" fmla="*/ 0 h 79"/>
                      <a:gd name="T72" fmla="*/ 0 w 111"/>
                      <a:gd name="T73" fmla="*/ 0 h 79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111"/>
                      <a:gd name="T112" fmla="*/ 0 h 79"/>
                      <a:gd name="T113" fmla="*/ 111 w 111"/>
                      <a:gd name="T114" fmla="*/ 79 h 79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111" h="79">
                        <a:moveTo>
                          <a:pt x="111" y="79"/>
                        </a:moveTo>
                        <a:lnTo>
                          <a:pt x="106" y="69"/>
                        </a:lnTo>
                        <a:lnTo>
                          <a:pt x="101" y="52"/>
                        </a:lnTo>
                        <a:lnTo>
                          <a:pt x="97" y="40"/>
                        </a:lnTo>
                        <a:lnTo>
                          <a:pt x="88" y="30"/>
                        </a:lnTo>
                        <a:lnTo>
                          <a:pt x="79" y="19"/>
                        </a:lnTo>
                        <a:lnTo>
                          <a:pt x="71" y="13"/>
                        </a:lnTo>
                        <a:lnTo>
                          <a:pt x="64" y="7"/>
                        </a:lnTo>
                        <a:lnTo>
                          <a:pt x="54" y="5"/>
                        </a:lnTo>
                        <a:lnTo>
                          <a:pt x="46" y="1"/>
                        </a:lnTo>
                        <a:lnTo>
                          <a:pt x="34" y="0"/>
                        </a:lnTo>
                        <a:lnTo>
                          <a:pt x="21" y="0"/>
                        </a:lnTo>
                        <a:lnTo>
                          <a:pt x="13" y="3"/>
                        </a:lnTo>
                        <a:lnTo>
                          <a:pt x="7" y="5"/>
                        </a:lnTo>
                        <a:lnTo>
                          <a:pt x="2" y="7"/>
                        </a:lnTo>
                        <a:lnTo>
                          <a:pt x="1" y="11"/>
                        </a:lnTo>
                        <a:lnTo>
                          <a:pt x="0" y="14"/>
                        </a:lnTo>
                        <a:lnTo>
                          <a:pt x="0" y="19"/>
                        </a:lnTo>
                        <a:lnTo>
                          <a:pt x="0" y="25"/>
                        </a:lnTo>
                        <a:lnTo>
                          <a:pt x="2" y="32"/>
                        </a:lnTo>
                        <a:lnTo>
                          <a:pt x="5" y="34"/>
                        </a:lnTo>
                        <a:lnTo>
                          <a:pt x="7" y="38"/>
                        </a:lnTo>
                        <a:lnTo>
                          <a:pt x="13" y="39"/>
                        </a:lnTo>
                        <a:lnTo>
                          <a:pt x="18" y="41"/>
                        </a:lnTo>
                        <a:lnTo>
                          <a:pt x="23" y="41"/>
                        </a:lnTo>
                        <a:lnTo>
                          <a:pt x="30" y="44"/>
                        </a:lnTo>
                        <a:lnTo>
                          <a:pt x="35" y="44"/>
                        </a:lnTo>
                        <a:lnTo>
                          <a:pt x="43" y="44"/>
                        </a:lnTo>
                        <a:lnTo>
                          <a:pt x="49" y="41"/>
                        </a:lnTo>
                        <a:lnTo>
                          <a:pt x="60" y="44"/>
                        </a:lnTo>
                        <a:lnTo>
                          <a:pt x="67" y="46"/>
                        </a:lnTo>
                        <a:lnTo>
                          <a:pt x="75" y="49"/>
                        </a:lnTo>
                        <a:lnTo>
                          <a:pt x="81" y="54"/>
                        </a:lnTo>
                        <a:lnTo>
                          <a:pt x="91" y="60"/>
                        </a:lnTo>
                        <a:lnTo>
                          <a:pt x="98" y="66"/>
                        </a:lnTo>
                        <a:lnTo>
                          <a:pt x="103" y="71"/>
                        </a:lnTo>
                        <a:lnTo>
                          <a:pt x="111" y="79"/>
                        </a:lnTo>
                        <a:close/>
                      </a:path>
                    </a:pathLst>
                  </a:custGeom>
                  <a:solidFill>
                    <a:srgbClr val="C0FFFF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</p:grpSp>
            <p:grpSp>
              <p:nvGrpSpPr>
                <p:cNvPr id="101" name="Group 1642"/>
                <p:cNvGrpSpPr>
                  <a:grpSpLocks/>
                </p:cNvGrpSpPr>
                <p:nvPr/>
              </p:nvGrpSpPr>
              <p:grpSpPr bwMode="auto">
                <a:xfrm>
                  <a:off x="752" y="1339"/>
                  <a:ext cx="96" cy="162"/>
                  <a:chOff x="752" y="1339"/>
                  <a:chExt cx="96" cy="162"/>
                </a:xfrm>
              </p:grpSpPr>
              <p:grpSp>
                <p:nvGrpSpPr>
                  <p:cNvPr id="143" name="Group 1643"/>
                  <p:cNvGrpSpPr>
                    <a:grpSpLocks/>
                  </p:cNvGrpSpPr>
                  <p:nvPr/>
                </p:nvGrpSpPr>
                <p:grpSpPr bwMode="auto">
                  <a:xfrm>
                    <a:off x="772" y="1422"/>
                    <a:ext cx="46" cy="79"/>
                    <a:chOff x="772" y="1422"/>
                    <a:chExt cx="46" cy="79"/>
                  </a:xfrm>
                </p:grpSpPr>
                <p:sp>
                  <p:nvSpPr>
                    <p:cNvPr id="174" name="Freeform 1644"/>
                    <p:cNvSpPr>
                      <a:spLocks/>
                    </p:cNvSpPr>
                    <p:nvPr/>
                  </p:nvSpPr>
                  <p:spPr bwMode="auto">
                    <a:xfrm>
                      <a:off x="782" y="1486"/>
                      <a:ext cx="35" cy="14"/>
                    </a:xfrm>
                    <a:custGeom>
                      <a:avLst/>
                      <a:gdLst>
                        <a:gd name="T0" fmla="*/ 0 w 496"/>
                        <a:gd name="T1" fmla="*/ 0 h 179"/>
                        <a:gd name="T2" fmla="*/ 0 w 496"/>
                        <a:gd name="T3" fmla="*/ 0 h 179"/>
                        <a:gd name="T4" fmla="*/ 0 w 496"/>
                        <a:gd name="T5" fmla="*/ 0 h 179"/>
                        <a:gd name="T6" fmla="*/ 0 w 496"/>
                        <a:gd name="T7" fmla="*/ 0 h 179"/>
                        <a:gd name="T8" fmla="*/ 0 w 496"/>
                        <a:gd name="T9" fmla="*/ 0 h 179"/>
                        <a:gd name="T10" fmla="*/ 0 w 496"/>
                        <a:gd name="T11" fmla="*/ 0 h 179"/>
                        <a:gd name="T12" fmla="*/ 0 w 496"/>
                        <a:gd name="T13" fmla="*/ 0 h 179"/>
                        <a:gd name="T14" fmla="*/ 0 w 496"/>
                        <a:gd name="T15" fmla="*/ 0 h 179"/>
                        <a:gd name="T16" fmla="*/ 0 w 496"/>
                        <a:gd name="T17" fmla="*/ 0 h 179"/>
                        <a:gd name="T18" fmla="*/ 0 w 496"/>
                        <a:gd name="T19" fmla="*/ 0 h 179"/>
                        <a:gd name="T20" fmla="*/ 0 w 496"/>
                        <a:gd name="T21" fmla="*/ 0 h 179"/>
                        <a:gd name="T22" fmla="*/ 0 w 496"/>
                        <a:gd name="T23" fmla="*/ 0 h 179"/>
                        <a:gd name="T24" fmla="*/ 0 w 496"/>
                        <a:gd name="T25" fmla="*/ 0 h 179"/>
                        <a:gd name="T26" fmla="*/ 0 w 496"/>
                        <a:gd name="T27" fmla="*/ 0 h 179"/>
                        <a:gd name="T28" fmla="*/ 0 w 496"/>
                        <a:gd name="T29" fmla="*/ 0 h 179"/>
                        <a:gd name="T30" fmla="*/ 0 w 496"/>
                        <a:gd name="T31" fmla="*/ 0 h 179"/>
                        <a:gd name="T32" fmla="*/ 0 w 496"/>
                        <a:gd name="T33" fmla="*/ 0 h 179"/>
                        <a:gd name="T34" fmla="*/ 0 w 496"/>
                        <a:gd name="T35" fmla="*/ 0 h 179"/>
                        <a:gd name="T36" fmla="*/ 0 w 496"/>
                        <a:gd name="T37" fmla="*/ 0 h 179"/>
                        <a:gd name="T38" fmla="*/ 0 w 496"/>
                        <a:gd name="T39" fmla="*/ 0 h 179"/>
                        <a:gd name="T40" fmla="*/ 0 w 496"/>
                        <a:gd name="T41" fmla="*/ 0 h 179"/>
                        <a:gd name="T42" fmla="*/ 0 w 496"/>
                        <a:gd name="T43" fmla="*/ 0 h 179"/>
                        <a:gd name="T44" fmla="*/ 0 w 496"/>
                        <a:gd name="T45" fmla="*/ 0 h 179"/>
                        <a:gd name="T46" fmla="*/ 0 w 496"/>
                        <a:gd name="T47" fmla="*/ 0 h 179"/>
                        <a:gd name="T48" fmla="*/ 0 w 496"/>
                        <a:gd name="T49" fmla="*/ 0 h 179"/>
                        <a:gd name="T50" fmla="*/ 0 w 496"/>
                        <a:gd name="T51" fmla="*/ 0 h 179"/>
                        <a:gd name="T52" fmla="*/ 0 w 496"/>
                        <a:gd name="T53" fmla="*/ 0 h 179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w 496"/>
                        <a:gd name="T82" fmla="*/ 0 h 179"/>
                        <a:gd name="T83" fmla="*/ 496 w 496"/>
                        <a:gd name="T84" fmla="*/ 179 h 179"/>
                      </a:gdLst>
                      <a:ahLst/>
                      <a:cxnLst>
                        <a:cxn ang="T54">
                          <a:pos x="T0" y="T1"/>
                        </a:cxn>
                        <a:cxn ang="T55">
                          <a:pos x="T2" y="T3"/>
                        </a:cxn>
                        <a:cxn ang="T56">
                          <a:pos x="T4" y="T5"/>
                        </a:cxn>
                        <a:cxn ang="T57">
                          <a:pos x="T6" y="T7"/>
                        </a:cxn>
                        <a:cxn ang="T58">
                          <a:pos x="T8" y="T9"/>
                        </a:cxn>
                        <a:cxn ang="T59">
                          <a:pos x="T10" y="T11"/>
                        </a:cxn>
                        <a:cxn ang="T60">
                          <a:pos x="T12" y="T13"/>
                        </a:cxn>
                        <a:cxn ang="T61">
                          <a:pos x="T14" y="T15"/>
                        </a:cxn>
                        <a:cxn ang="T62">
                          <a:pos x="T16" y="T17"/>
                        </a:cxn>
                        <a:cxn ang="T63">
                          <a:pos x="T18" y="T19"/>
                        </a:cxn>
                        <a:cxn ang="T64">
                          <a:pos x="T20" y="T21"/>
                        </a:cxn>
                        <a:cxn ang="T65">
                          <a:pos x="T22" y="T23"/>
                        </a:cxn>
                        <a:cxn ang="T66">
                          <a:pos x="T24" y="T25"/>
                        </a:cxn>
                        <a:cxn ang="T67">
                          <a:pos x="T26" y="T27"/>
                        </a:cxn>
                        <a:cxn ang="T68">
                          <a:pos x="T28" y="T29"/>
                        </a:cxn>
                        <a:cxn ang="T69">
                          <a:pos x="T30" y="T31"/>
                        </a:cxn>
                        <a:cxn ang="T70">
                          <a:pos x="T32" y="T33"/>
                        </a:cxn>
                        <a:cxn ang="T71">
                          <a:pos x="T34" y="T35"/>
                        </a:cxn>
                        <a:cxn ang="T72">
                          <a:pos x="T36" y="T37"/>
                        </a:cxn>
                        <a:cxn ang="T73">
                          <a:pos x="T38" y="T39"/>
                        </a:cxn>
                        <a:cxn ang="T74">
                          <a:pos x="T40" y="T41"/>
                        </a:cxn>
                        <a:cxn ang="T75">
                          <a:pos x="T42" y="T43"/>
                        </a:cxn>
                        <a:cxn ang="T76">
                          <a:pos x="T44" y="T45"/>
                        </a:cxn>
                        <a:cxn ang="T77">
                          <a:pos x="T46" y="T47"/>
                        </a:cxn>
                        <a:cxn ang="T78">
                          <a:pos x="T48" y="T49"/>
                        </a:cxn>
                        <a:cxn ang="T79">
                          <a:pos x="T50" y="T51"/>
                        </a:cxn>
                        <a:cxn ang="T80">
                          <a:pos x="T52" y="T53"/>
                        </a:cxn>
                      </a:cxnLst>
                      <a:rect l="T81" t="T82" r="T83" b="T84"/>
                      <a:pathLst>
                        <a:path w="496" h="179">
                          <a:moveTo>
                            <a:pt x="278" y="0"/>
                          </a:moveTo>
                          <a:lnTo>
                            <a:pt x="230" y="18"/>
                          </a:lnTo>
                          <a:lnTo>
                            <a:pt x="179" y="18"/>
                          </a:lnTo>
                          <a:lnTo>
                            <a:pt x="121" y="22"/>
                          </a:lnTo>
                          <a:lnTo>
                            <a:pt x="45" y="37"/>
                          </a:lnTo>
                          <a:lnTo>
                            <a:pt x="22" y="53"/>
                          </a:lnTo>
                          <a:lnTo>
                            <a:pt x="0" y="68"/>
                          </a:lnTo>
                          <a:lnTo>
                            <a:pt x="0" y="111"/>
                          </a:lnTo>
                          <a:lnTo>
                            <a:pt x="22" y="142"/>
                          </a:lnTo>
                          <a:lnTo>
                            <a:pt x="66" y="158"/>
                          </a:lnTo>
                          <a:lnTo>
                            <a:pt x="134" y="167"/>
                          </a:lnTo>
                          <a:lnTo>
                            <a:pt x="195" y="167"/>
                          </a:lnTo>
                          <a:lnTo>
                            <a:pt x="256" y="158"/>
                          </a:lnTo>
                          <a:lnTo>
                            <a:pt x="312" y="126"/>
                          </a:lnTo>
                          <a:lnTo>
                            <a:pt x="316" y="158"/>
                          </a:lnTo>
                          <a:lnTo>
                            <a:pt x="360" y="173"/>
                          </a:lnTo>
                          <a:lnTo>
                            <a:pt x="409" y="179"/>
                          </a:lnTo>
                          <a:lnTo>
                            <a:pt x="443" y="176"/>
                          </a:lnTo>
                          <a:lnTo>
                            <a:pt x="490" y="164"/>
                          </a:lnTo>
                          <a:lnTo>
                            <a:pt x="496" y="133"/>
                          </a:lnTo>
                          <a:lnTo>
                            <a:pt x="490" y="120"/>
                          </a:lnTo>
                          <a:lnTo>
                            <a:pt x="494" y="102"/>
                          </a:lnTo>
                          <a:lnTo>
                            <a:pt x="490" y="62"/>
                          </a:lnTo>
                          <a:lnTo>
                            <a:pt x="485" y="31"/>
                          </a:lnTo>
                          <a:lnTo>
                            <a:pt x="453" y="0"/>
                          </a:lnTo>
                          <a:lnTo>
                            <a:pt x="351" y="9"/>
                          </a:lnTo>
                          <a:lnTo>
                            <a:pt x="278" y="0"/>
                          </a:lnTo>
                          <a:close/>
                        </a:path>
                      </a:pathLst>
                    </a:custGeom>
                    <a:solidFill>
                      <a:srgbClr val="402000"/>
                    </a:solidFill>
                    <a:ln w="1588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id-ID"/>
                    </a:p>
                  </p:txBody>
                </p:sp>
                <p:sp>
                  <p:nvSpPr>
                    <p:cNvPr id="175" name="Freeform 1645"/>
                    <p:cNvSpPr>
                      <a:spLocks/>
                    </p:cNvSpPr>
                    <p:nvPr/>
                  </p:nvSpPr>
                  <p:spPr bwMode="auto">
                    <a:xfrm>
                      <a:off x="772" y="1486"/>
                      <a:ext cx="38" cy="15"/>
                    </a:xfrm>
                    <a:custGeom>
                      <a:avLst/>
                      <a:gdLst>
                        <a:gd name="T0" fmla="*/ 0 w 526"/>
                        <a:gd name="T1" fmla="*/ 0 h 189"/>
                        <a:gd name="T2" fmla="*/ 0 w 526"/>
                        <a:gd name="T3" fmla="*/ 0 h 189"/>
                        <a:gd name="T4" fmla="*/ 0 w 526"/>
                        <a:gd name="T5" fmla="*/ 0 h 189"/>
                        <a:gd name="T6" fmla="*/ 0 w 526"/>
                        <a:gd name="T7" fmla="*/ 0 h 189"/>
                        <a:gd name="T8" fmla="*/ 0 w 526"/>
                        <a:gd name="T9" fmla="*/ 0 h 189"/>
                        <a:gd name="T10" fmla="*/ 0 w 526"/>
                        <a:gd name="T11" fmla="*/ 0 h 189"/>
                        <a:gd name="T12" fmla="*/ 0 w 526"/>
                        <a:gd name="T13" fmla="*/ 0 h 189"/>
                        <a:gd name="T14" fmla="*/ 0 w 526"/>
                        <a:gd name="T15" fmla="*/ 0 h 189"/>
                        <a:gd name="T16" fmla="*/ 0 w 526"/>
                        <a:gd name="T17" fmla="*/ 0 h 189"/>
                        <a:gd name="T18" fmla="*/ 0 w 526"/>
                        <a:gd name="T19" fmla="*/ 0 h 189"/>
                        <a:gd name="T20" fmla="*/ 0 w 526"/>
                        <a:gd name="T21" fmla="*/ 0 h 189"/>
                        <a:gd name="T22" fmla="*/ 0 w 526"/>
                        <a:gd name="T23" fmla="*/ 0 h 189"/>
                        <a:gd name="T24" fmla="*/ 0 w 526"/>
                        <a:gd name="T25" fmla="*/ 0 h 189"/>
                        <a:gd name="T26" fmla="*/ 0 w 526"/>
                        <a:gd name="T27" fmla="*/ 0 h 189"/>
                        <a:gd name="T28" fmla="*/ 0 w 526"/>
                        <a:gd name="T29" fmla="*/ 0 h 189"/>
                        <a:gd name="T30" fmla="*/ 0 w 526"/>
                        <a:gd name="T31" fmla="*/ 0 h 189"/>
                        <a:gd name="T32" fmla="*/ 0 w 526"/>
                        <a:gd name="T33" fmla="*/ 0 h 189"/>
                        <a:gd name="T34" fmla="*/ 0 w 526"/>
                        <a:gd name="T35" fmla="*/ 0 h 189"/>
                        <a:gd name="T36" fmla="*/ 0 w 526"/>
                        <a:gd name="T37" fmla="*/ 0 h 189"/>
                        <a:gd name="T38" fmla="*/ 0 w 526"/>
                        <a:gd name="T39" fmla="*/ 0 h 189"/>
                        <a:gd name="T40" fmla="*/ 0 w 526"/>
                        <a:gd name="T41" fmla="*/ 0 h 189"/>
                        <a:gd name="T42" fmla="*/ 0 w 526"/>
                        <a:gd name="T43" fmla="*/ 0 h 189"/>
                        <a:gd name="T44" fmla="*/ 0 w 526"/>
                        <a:gd name="T45" fmla="*/ 0 h 189"/>
                        <a:gd name="T46" fmla="*/ 0 w 526"/>
                        <a:gd name="T47" fmla="*/ 0 h 189"/>
                        <a:gd name="T48" fmla="*/ 0 w 526"/>
                        <a:gd name="T49" fmla="*/ 0 h 189"/>
                        <a:gd name="T50" fmla="*/ 0 w 526"/>
                        <a:gd name="T51" fmla="*/ 0 h 189"/>
                        <a:gd name="T52" fmla="*/ 0 w 526"/>
                        <a:gd name="T53" fmla="*/ 0 h 189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w 526"/>
                        <a:gd name="T82" fmla="*/ 0 h 189"/>
                        <a:gd name="T83" fmla="*/ 526 w 526"/>
                        <a:gd name="T84" fmla="*/ 189 h 189"/>
                      </a:gdLst>
                      <a:ahLst/>
                      <a:cxnLst>
                        <a:cxn ang="T54">
                          <a:pos x="T0" y="T1"/>
                        </a:cxn>
                        <a:cxn ang="T55">
                          <a:pos x="T2" y="T3"/>
                        </a:cxn>
                        <a:cxn ang="T56">
                          <a:pos x="T4" y="T5"/>
                        </a:cxn>
                        <a:cxn ang="T57">
                          <a:pos x="T6" y="T7"/>
                        </a:cxn>
                        <a:cxn ang="T58">
                          <a:pos x="T8" y="T9"/>
                        </a:cxn>
                        <a:cxn ang="T59">
                          <a:pos x="T10" y="T11"/>
                        </a:cxn>
                        <a:cxn ang="T60">
                          <a:pos x="T12" y="T13"/>
                        </a:cxn>
                        <a:cxn ang="T61">
                          <a:pos x="T14" y="T15"/>
                        </a:cxn>
                        <a:cxn ang="T62">
                          <a:pos x="T16" y="T17"/>
                        </a:cxn>
                        <a:cxn ang="T63">
                          <a:pos x="T18" y="T19"/>
                        </a:cxn>
                        <a:cxn ang="T64">
                          <a:pos x="T20" y="T21"/>
                        </a:cxn>
                        <a:cxn ang="T65">
                          <a:pos x="T22" y="T23"/>
                        </a:cxn>
                        <a:cxn ang="T66">
                          <a:pos x="T24" y="T25"/>
                        </a:cxn>
                        <a:cxn ang="T67">
                          <a:pos x="T26" y="T27"/>
                        </a:cxn>
                        <a:cxn ang="T68">
                          <a:pos x="T28" y="T29"/>
                        </a:cxn>
                        <a:cxn ang="T69">
                          <a:pos x="T30" y="T31"/>
                        </a:cxn>
                        <a:cxn ang="T70">
                          <a:pos x="T32" y="T33"/>
                        </a:cxn>
                        <a:cxn ang="T71">
                          <a:pos x="T34" y="T35"/>
                        </a:cxn>
                        <a:cxn ang="T72">
                          <a:pos x="T36" y="T37"/>
                        </a:cxn>
                        <a:cxn ang="T73">
                          <a:pos x="T38" y="T39"/>
                        </a:cxn>
                        <a:cxn ang="T74">
                          <a:pos x="T40" y="T41"/>
                        </a:cxn>
                        <a:cxn ang="T75">
                          <a:pos x="T42" y="T43"/>
                        </a:cxn>
                        <a:cxn ang="T76">
                          <a:pos x="T44" y="T45"/>
                        </a:cxn>
                        <a:cxn ang="T77">
                          <a:pos x="T46" y="T47"/>
                        </a:cxn>
                        <a:cxn ang="T78">
                          <a:pos x="T48" y="T49"/>
                        </a:cxn>
                        <a:cxn ang="T79">
                          <a:pos x="T50" y="T51"/>
                        </a:cxn>
                        <a:cxn ang="T80">
                          <a:pos x="T52" y="T53"/>
                        </a:cxn>
                      </a:cxnLst>
                      <a:rect l="T81" t="T82" r="T83" b="T84"/>
                      <a:pathLst>
                        <a:path w="526" h="189">
                          <a:moveTo>
                            <a:pt x="293" y="0"/>
                          </a:moveTo>
                          <a:lnTo>
                            <a:pt x="243" y="19"/>
                          </a:lnTo>
                          <a:lnTo>
                            <a:pt x="190" y="19"/>
                          </a:lnTo>
                          <a:lnTo>
                            <a:pt x="129" y="23"/>
                          </a:lnTo>
                          <a:lnTo>
                            <a:pt x="47" y="38"/>
                          </a:lnTo>
                          <a:lnTo>
                            <a:pt x="24" y="55"/>
                          </a:lnTo>
                          <a:lnTo>
                            <a:pt x="0" y="71"/>
                          </a:lnTo>
                          <a:lnTo>
                            <a:pt x="0" y="117"/>
                          </a:lnTo>
                          <a:lnTo>
                            <a:pt x="24" y="149"/>
                          </a:lnTo>
                          <a:lnTo>
                            <a:pt x="71" y="166"/>
                          </a:lnTo>
                          <a:lnTo>
                            <a:pt x="143" y="176"/>
                          </a:lnTo>
                          <a:lnTo>
                            <a:pt x="206" y="176"/>
                          </a:lnTo>
                          <a:lnTo>
                            <a:pt x="270" y="166"/>
                          </a:lnTo>
                          <a:lnTo>
                            <a:pt x="331" y="134"/>
                          </a:lnTo>
                          <a:lnTo>
                            <a:pt x="334" y="166"/>
                          </a:lnTo>
                          <a:lnTo>
                            <a:pt x="381" y="182"/>
                          </a:lnTo>
                          <a:lnTo>
                            <a:pt x="431" y="189"/>
                          </a:lnTo>
                          <a:lnTo>
                            <a:pt x="469" y="186"/>
                          </a:lnTo>
                          <a:lnTo>
                            <a:pt x="519" y="172"/>
                          </a:lnTo>
                          <a:lnTo>
                            <a:pt x="526" y="140"/>
                          </a:lnTo>
                          <a:lnTo>
                            <a:pt x="519" y="126"/>
                          </a:lnTo>
                          <a:lnTo>
                            <a:pt x="522" y="108"/>
                          </a:lnTo>
                          <a:lnTo>
                            <a:pt x="519" y="65"/>
                          </a:lnTo>
                          <a:lnTo>
                            <a:pt x="513" y="32"/>
                          </a:lnTo>
                          <a:lnTo>
                            <a:pt x="479" y="0"/>
                          </a:lnTo>
                          <a:lnTo>
                            <a:pt x="370" y="9"/>
                          </a:lnTo>
                          <a:lnTo>
                            <a:pt x="293" y="0"/>
                          </a:lnTo>
                          <a:close/>
                        </a:path>
                      </a:pathLst>
                    </a:custGeom>
                    <a:solidFill>
                      <a:srgbClr val="603000"/>
                    </a:solidFill>
                    <a:ln w="1588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id-ID"/>
                    </a:p>
                  </p:txBody>
                </p:sp>
                <p:sp>
                  <p:nvSpPr>
                    <p:cNvPr id="176" name="Freeform 1646"/>
                    <p:cNvSpPr>
                      <a:spLocks/>
                    </p:cNvSpPr>
                    <p:nvPr/>
                  </p:nvSpPr>
                  <p:spPr bwMode="auto">
                    <a:xfrm>
                      <a:off x="784" y="1424"/>
                      <a:ext cx="32" cy="64"/>
                    </a:xfrm>
                    <a:custGeom>
                      <a:avLst/>
                      <a:gdLst>
                        <a:gd name="T0" fmla="*/ 0 w 443"/>
                        <a:gd name="T1" fmla="*/ 0 h 833"/>
                        <a:gd name="T2" fmla="*/ 0 w 443"/>
                        <a:gd name="T3" fmla="*/ 0 h 833"/>
                        <a:gd name="T4" fmla="*/ 0 w 443"/>
                        <a:gd name="T5" fmla="*/ 0 h 833"/>
                        <a:gd name="T6" fmla="*/ 0 w 443"/>
                        <a:gd name="T7" fmla="*/ 0 h 833"/>
                        <a:gd name="T8" fmla="*/ 0 w 443"/>
                        <a:gd name="T9" fmla="*/ 0 h 833"/>
                        <a:gd name="T10" fmla="*/ 0 w 443"/>
                        <a:gd name="T11" fmla="*/ 0 h 833"/>
                        <a:gd name="T12" fmla="*/ 0 w 443"/>
                        <a:gd name="T13" fmla="*/ 0 h 833"/>
                        <a:gd name="T14" fmla="*/ 0 w 443"/>
                        <a:gd name="T15" fmla="*/ 0 h 833"/>
                        <a:gd name="T16" fmla="*/ 0 w 443"/>
                        <a:gd name="T17" fmla="*/ 0 h 833"/>
                        <a:gd name="T18" fmla="*/ 0 w 443"/>
                        <a:gd name="T19" fmla="*/ 0 h 833"/>
                        <a:gd name="T20" fmla="*/ 0 w 443"/>
                        <a:gd name="T21" fmla="*/ 0 h 833"/>
                        <a:gd name="T22" fmla="*/ 0 w 443"/>
                        <a:gd name="T23" fmla="*/ 0 h 833"/>
                        <a:gd name="T24" fmla="*/ 0 w 443"/>
                        <a:gd name="T25" fmla="*/ 0 h 833"/>
                        <a:gd name="T26" fmla="*/ 0 w 443"/>
                        <a:gd name="T27" fmla="*/ 0 h 833"/>
                        <a:gd name="T28" fmla="*/ 0 w 443"/>
                        <a:gd name="T29" fmla="*/ 0 h 833"/>
                        <a:gd name="T30" fmla="*/ 0 w 443"/>
                        <a:gd name="T31" fmla="*/ 0 h 833"/>
                        <a:gd name="T32" fmla="*/ 0 w 443"/>
                        <a:gd name="T33" fmla="*/ 0 h 833"/>
                        <a:gd name="T34" fmla="*/ 0 w 443"/>
                        <a:gd name="T35" fmla="*/ 0 h 833"/>
                        <a:gd name="T36" fmla="*/ 0 w 443"/>
                        <a:gd name="T37" fmla="*/ 0 h 833"/>
                        <a:gd name="T38" fmla="*/ 0 w 443"/>
                        <a:gd name="T39" fmla="*/ 0 h 833"/>
                        <a:gd name="T40" fmla="*/ 0 w 443"/>
                        <a:gd name="T41" fmla="*/ 0 h 833"/>
                        <a:gd name="T42" fmla="*/ 0 w 443"/>
                        <a:gd name="T43" fmla="*/ 0 h 833"/>
                        <a:gd name="T44" fmla="*/ 0 w 443"/>
                        <a:gd name="T45" fmla="*/ 0 h 833"/>
                        <a:gd name="T46" fmla="*/ 0 w 443"/>
                        <a:gd name="T47" fmla="*/ 0 h 833"/>
                        <a:gd name="T48" fmla="*/ 0 w 443"/>
                        <a:gd name="T49" fmla="*/ 0 h 833"/>
                        <a:gd name="T50" fmla="*/ 0 w 443"/>
                        <a:gd name="T51" fmla="*/ 0 h 833"/>
                        <a:gd name="T52" fmla="*/ 0 w 443"/>
                        <a:gd name="T53" fmla="*/ 0 h 833"/>
                        <a:gd name="T54" fmla="*/ 0 w 443"/>
                        <a:gd name="T55" fmla="*/ 0 h 833"/>
                        <a:gd name="T56" fmla="*/ 0 w 443"/>
                        <a:gd name="T57" fmla="*/ 0 h 833"/>
                        <a:gd name="T58" fmla="*/ 0 w 443"/>
                        <a:gd name="T59" fmla="*/ 0 h 833"/>
                        <a:gd name="T60" fmla="*/ 0 w 443"/>
                        <a:gd name="T61" fmla="*/ 0 h 833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w 443"/>
                        <a:gd name="T94" fmla="*/ 0 h 833"/>
                        <a:gd name="T95" fmla="*/ 443 w 443"/>
                        <a:gd name="T96" fmla="*/ 833 h 833"/>
                      </a:gdLst>
                      <a:ahLst/>
                      <a:cxnLst>
                        <a:cxn ang="T62">
                          <a:pos x="T0" y="T1"/>
                        </a:cxn>
                        <a:cxn ang="T63">
                          <a:pos x="T2" y="T3"/>
                        </a:cxn>
                        <a:cxn ang="T64">
                          <a:pos x="T4" y="T5"/>
                        </a:cxn>
                        <a:cxn ang="T65">
                          <a:pos x="T6" y="T7"/>
                        </a:cxn>
                        <a:cxn ang="T66">
                          <a:pos x="T8" y="T9"/>
                        </a:cxn>
                        <a:cxn ang="T67">
                          <a:pos x="T10" y="T11"/>
                        </a:cxn>
                        <a:cxn ang="T68">
                          <a:pos x="T12" y="T13"/>
                        </a:cxn>
                        <a:cxn ang="T69">
                          <a:pos x="T14" y="T15"/>
                        </a:cxn>
                        <a:cxn ang="T70">
                          <a:pos x="T16" y="T17"/>
                        </a:cxn>
                        <a:cxn ang="T71">
                          <a:pos x="T18" y="T19"/>
                        </a:cxn>
                        <a:cxn ang="T72">
                          <a:pos x="T20" y="T21"/>
                        </a:cxn>
                        <a:cxn ang="T73">
                          <a:pos x="T22" y="T23"/>
                        </a:cxn>
                        <a:cxn ang="T74">
                          <a:pos x="T24" y="T25"/>
                        </a:cxn>
                        <a:cxn ang="T75">
                          <a:pos x="T26" y="T27"/>
                        </a:cxn>
                        <a:cxn ang="T76">
                          <a:pos x="T28" y="T29"/>
                        </a:cxn>
                        <a:cxn ang="T77">
                          <a:pos x="T30" y="T31"/>
                        </a:cxn>
                        <a:cxn ang="T78">
                          <a:pos x="T32" y="T33"/>
                        </a:cxn>
                        <a:cxn ang="T79">
                          <a:pos x="T34" y="T35"/>
                        </a:cxn>
                        <a:cxn ang="T80">
                          <a:pos x="T36" y="T37"/>
                        </a:cxn>
                        <a:cxn ang="T81">
                          <a:pos x="T38" y="T39"/>
                        </a:cxn>
                        <a:cxn ang="T82">
                          <a:pos x="T40" y="T41"/>
                        </a:cxn>
                        <a:cxn ang="T83">
                          <a:pos x="T42" y="T43"/>
                        </a:cxn>
                        <a:cxn ang="T84">
                          <a:pos x="T44" y="T45"/>
                        </a:cxn>
                        <a:cxn ang="T85">
                          <a:pos x="T46" y="T47"/>
                        </a:cxn>
                        <a:cxn ang="T86">
                          <a:pos x="T48" y="T49"/>
                        </a:cxn>
                        <a:cxn ang="T87">
                          <a:pos x="T50" y="T51"/>
                        </a:cxn>
                        <a:cxn ang="T88">
                          <a:pos x="T52" y="T53"/>
                        </a:cxn>
                        <a:cxn ang="T89">
                          <a:pos x="T54" y="T55"/>
                        </a:cxn>
                        <a:cxn ang="T90">
                          <a:pos x="T56" y="T57"/>
                        </a:cxn>
                        <a:cxn ang="T91">
                          <a:pos x="T58" y="T59"/>
                        </a:cxn>
                        <a:cxn ang="T92">
                          <a:pos x="T60" y="T61"/>
                        </a:cxn>
                      </a:cxnLst>
                      <a:rect l="T93" t="T94" r="T95" b="T96"/>
                      <a:pathLst>
                        <a:path w="443" h="833">
                          <a:moveTo>
                            <a:pt x="350" y="199"/>
                          </a:moveTo>
                          <a:lnTo>
                            <a:pt x="313" y="288"/>
                          </a:lnTo>
                          <a:lnTo>
                            <a:pt x="272" y="376"/>
                          </a:lnTo>
                          <a:lnTo>
                            <a:pt x="256" y="438"/>
                          </a:lnTo>
                          <a:lnTo>
                            <a:pt x="239" y="478"/>
                          </a:lnTo>
                          <a:lnTo>
                            <a:pt x="228" y="500"/>
                          </a:lnTo>
                          <a:lnTo>
                            <a:pt x="256" y="551"/>
                          </a:lnTo>
                          <a:lnTo>
                            <a:pt x="306" y="621"/>
                          </a:lnTo>
                          <a:lnTo>
                            <a:pt x="353" y="705"/>
                          </a:lnTo>
                          <a:lnTo>
                            <a:pt x="420" y="784"/>
                          </a:lnTo>
                          <a:lnTo>
                            <a:pt x="443" y="820"/>
                          </a:lnTo>
                          <a:lnTo>
                            <a:pt x="402" y="826"/>
                          </a:lnTo>
                          <a:lnTo>
                            <a:pt x="330" y="826"/>
                          </a:lnTo>
                          <a:lnTo>
                            <a:pt x="276" y="829"/>
                          </a:lnTo>
                          <a:lnTo>
                            <a:pt x="232" y="833"/>
                          </a:lnTo>
                          <a:lnTo>
                            <a:pt x="188" y="833"/>
                          </a:lnTo>
                          <a:lnTo>
                            <a:pt x="154" y="813"/>
                          </a:lnTo>
                          <a:lnTo>
                            <a:pt x="134" y="773"/>
                          </a:lnTo>
                          <a:lnTo>
                            <a:pt x="71" y="656"/>
                          </a:lnTo>
                          <a:lnTo>
                            <a:pt x="36" y="548"/>
                          </a:lnTo>
                          <a:lnTo>
                            <a:pt x="0" y="455"/>
                          </a:lnTo>
                          <a:lnTo>
                            <a:pt x="13" y="370"/>
                          </a:lnTo>
                          <a:lnTo>
                            <a:pt x="94" y="275"/>
                          </a:lnTo>
                          <a:lnTo>
                            <a:pt x="154" y="190"/>
                          </a:lnTo>
                          <a:lnTo>
                            <a:pt x="188" y="118"/>
                          </a:lnTo>
                          <a:lnTo>
                            <a:pt x="192" y="30"/>
                          </a:lnTo>
                          <a:lnTo>
                            <a:pt x="198" y="0"/>
                          </a:lnTo>
                          <a:lnTo>
                            <a:pt x="326" y="0"/>
                          </a:lnTo>
                          <a:lnTo>
                            <a:pt x="389" y="0"/>
                          </a:lnTo>
                          <a:lnTo>
                            <a:pt x="383" y="131"/>
                          </a:lnTo>
                          <a:lnTo>
                            <a:pt x="350" y="199"/>
                          </a:lnTo>
                          <a:close/>
                        </a:path>
                      </a:pathLst>
                    </a:custGeom>
                    <a:solidFill>
                      <a:srgbClr val="0000C4"/>
                    </a:solidFill>
                    <a:ln w="1588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id-ID"/>
                    </a:p>
                  </p:txBody>
                </p:sp>
                <p:sp>
                  <p:nvSpPr>
                    <p:cNvPr id="177" name="Freeform 1647"/>
                    <p:cNvSpPr>
                      <a:spLocks/>
                    </p:cNvSpPr>
                    <p:nvPr/>
                  </p:nvSpPr>
                  <p:spPr bwMode="auto">
                    <a:xfrm>
                      <a:off x="778" y="1422"/>
                      <a:ext cx="35" cy="67"/>
                    </a:xfrm>
                    <a:custGeom>
                      <a:avLst/>
                      <a:gdLst>
                        <a:gd name="T0" fmla="*/ 0 w 493"/>
                        <a:gd name="T1" fmla="*/ 0 h 868"/>
                        <a:gd name="T2" fmla="*/ 0 w 493"/>
                        <a:gd name="T3" fmla="*/ 0 h 868"/>
                        <a:gd name="T4" fmla="*/ 0 w 493"/>
                        <a:gd name="T5" fmla="*/ 0 h 868"/>
                        <a:gd name="T6" fmla="*/ 0 w 493"/>
                        <a:gd name="T7" fmla="*/ 0 h 868"/>
                        <a:gd name="T8" fmla="*/ 0 w 493"/>
                        <a:gd name="T9" fmla="*/ 0 h 868"/>
                        <a:gd name="T10" fmla="*/ 0 w 493"/>
                        <a:gd name="T11" fmla="*/ 0 h 868"/>
                        <a:gd name="T12" fmla="*/ 0 w 493"/>
                        <a:gd name="T13" fmla="*/ 0 h 868"/>
                        <a:gd name="T14" fmla="*/ 0 w 493"/>
                        <a:gd name="T15" fmla="*/ 0 h 868"/>
                        <a:gd name="T16" fmla="*/ 0 w 493"/>
                        <a:gd name="T17" fmla="*/ 0 h 868"/>
                        <a:gd name="T18" fmla="*/ 0 w 493"/>
                        <a:gd name="T19" fmla="*/ 0 h 868"/>
                        <a:gd name="T20" fmla="*/ 0 w 493"/>
                        <a:gd name="T21" fmla="*/ 0 h 868"/>
                        <a:gd name="T22" fmla="*/ 0 w 493"/>
                        <a:gd name="T23" fmla="*/ 0 h 868"/>
                        <a:gd name="T24" fmla="*/ 0 w 493"/>
                        <a:gd name="T25" fmla="*/ 0 h 868"/>
                        <a:gd name="T26" fmla="*/ 0 w 493"/>
                        <a:gd name="T27" fmla="*/ 0 h 868"/>
                        <a:gd name="T28" fmla="*/ 0 w 493"/>
                        <a:gd name="T29" fmla="*/ 0 h 868"/>
                        <a:gd name="T30" fmla="*/ 0 w 493"/>
                        <a:gd name="T31" fmla="*/ 0 h 868"/>
                        <a:gd name="T32" fmla="*/ 0 w 493"/>
                        <a:gd name="T33" fmla="*/ 0 h 868"/>
                        <a:gd name="T34" fmla="*/ 0 w 493"/>
                        <a:gd name="T35" fmla="*/ 0 h 868"/>
                        <a:gd name="T36" fmla="*/ 0 w 493"/>
                        <a:gd name="T37" fmla="*/ 0 h 868"/>
                        <a:gd name="T38" fmla="*/ 0 w 493"/>
                        <a:gd name="T39" fmla="*/ 0 h 868"/>
                        <a:gd name="T40" fmla="*/ 0 w 493"/>
                        <a:gd name="T41" fmla="*/ 0 h 868"/>
                        <a:gd name="T42" fmla="*/ 0 w 493"/>
                        <a:gd name="T43" fmla="*/ 0 h 868"/>
                        <a:gd name="T44" fmla="*/ 0 w 493"/>
                        <a:gd name="T45" fmla="*/ 0 h 868"/>
                        <a:gd name="T46" fmla="*/ 0 w 493"/>
                        <a:gd name="T47" fmla="*/ 0 h 868"/>
                        <a:gd name="T48" fmla="*/ 0 w 493"/>
                        <a:gd name="T49" fmla="*/ 0 h 868"/>
                        <a:gd name="T50" fmla="*/ 0 w 493"/>
                        <a:gd name="T51" fmla="*/ 0 h 868"/>
                        <a:gd name="T52" fmla="*/ 0 w 493"/>
                        <a:gd name="T53" fmla="*/ 0 h 868"/>
                        <a:gd name="T54" fmla="*/ 0 w 493"/>
                        <a:gd name="T55" fmla="*/ 0 h 868"/>
                        <a:gd name="T56" fmla="*/ 0 w 493"/>
                        <a:gd name="T57" fmla="*/ 0 h 868"/>
                        <a:gd name="T58" fmla="*/ 0 w 493"/>
                        <a:gd name="T59" fmla="*/ 0 h 868"/>
                        <a:gd name="T60" fmla="*/ 0 w 493"/>
                        <a:gd name="T61" fmla="*/ 0 h 868"/>
                        <a:gd name="T62" fmla="*/ 0 w 493"/>
                        <a:gd name="T63" fmla="*/ 0 h 868"/>
                        <a:gd name="T64" fmla="*/ 0 w 493"/>
                        <a:gd name="T65" fmla="*/ 0 h 868"/>
                        <a:gd name="T66" fmla="*/ 0 w 493"/>
                        <a:gd name="T67" fmla="*/ 0 h 868"/>
                        <a:gd name="T68" fmla="*/ 0 w 493"/>
                        <a:gd name="T69" fmla="*/ 0 h 868"/>
                        <a:gd name="T70" fmla="*/ 0 w 493"/>
                        <a:gd name="T71" fmla="*/ 0 h 868"/>
                        <a:gd name="T72" fmla="*/ 0 w 493"/>
                        <a:gd name="T73" fmla="*/ 0 h 868"/>
                        <a:gd name="T74" fmla="*/ 0 w 493"/>
                        <a:gd name="T75" fmla="*/ 0 h 868"/>
                        <a:gd name="T76" fmla="*/ 0 w 493"/>
                        <a:gd name="T77" fmla="*/ 0 h 868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w 493"/>
                        <a:gd name="T118" fmla="*/ 0 h 868"/>
                        <a:gd name="T119" fmla="*/ 493 w 493"/>
                        <a:gd name="T120" fmla="*/ 868 h 868"/>
                      </a:gdLst>
                      <a:ahLst/>
                      <a:cxnLst>
                        <a:cxn ang="T78">
                          <a:pos x="T0" y="T1"/>
                        </a:cxn>
                        <a:cxn ang="T79">
                          <a:pos x="T2" y="T3"/>
                        </a:cxn>
                        <a:cxn ang="T80">
                          <a:pos x="T4" y="T5"/>
                        </a:cxn>
                        <a:cxn ang="T81">
                          <a:pos x="T6" y="T7"/>
                        </a:cxn>
                        <a:cxn ang="T82">
                          <a:pos x="T8" y="T9"/>
                        </a:cxn>
                        <a:cxn ang="T83">
                          <a:pos x="T10" y="T11"/>
                        </a:cxn>
                        <a:cxn ang="T84">
                          <a:pos x="T12" y="T13"/>
                        </a:cxn>
                        <a:cxn ang="T85">
                          <a:pos x="T14" y="T15"/>
                        </a:cxn>
                        <a:cxn ang="T86">
                          <a:pos x="T16" y="T17"/>
                        </a:cxn>
                        <a:cxn ang="T87">
                          <a:pos x="T18" y="T19"/>
                        </a:cxn>
                        <a:cxn ang="T88">
                          <a:pos x="T20" y="T21"/>
                        </a:cxn>
                        <a:cxn ang="T89">
                          <a:pos x="T22" y="T23"/>
                        </a:cxn>
                        <a:cxn ang="T90">
                          <a:pos x="T24" y="T25"/>
                        </a:cxn>
                        <a:cxn ang="T91">
                          <a:pos x="T26" y="T27"/>
                        </a:cxn>
                        <a:cxn ang="T92">
                          <a:pos x="T28" y="T29"/>
                        </a:cxn>
                        <a:cxn ang="T93">
                          <a:pos x="T30" y="T31"/>
                        </a:cxn>
                        <a:cxn ang="T94">
                          <a:pos x="T32" y="T33"/>
                        </a:cxn>
                        <a:cxn ang="T95">
                          <a:pos x="T34" y="T35"/>
                        </a:cxn>
                        <a:cxn ang="T96">
                          <a:pos x="T36" y="T37"/>
                        </a:cxn>
                        <a:cxn ang="T97">
                          <a:pos x="T38" y="T39"/>
                        </a:cxn>
                        <a:cxn ang="T98">
                          <a:pos x="T40" y="T41"/>
                        </a:cxn>
                        <a:cxn ang="T99">
                          <a:pos x="T42" y="T43"/>
                        </a:cxn>
                        <a:cxn ang="T100">
                          <a:pos x="T44" y="T45"/>
                        </a:cxn>
                        <a:cxn ang="T101">
                          <a:pos x="T46" y="T47"/>
                        </a:cxn>
                        <a:cxn ang="T102">
                          <a:pos x="T48" y="T49"/>
                        </a:cxn>
                        <a:cxn ang="T103">
                          <a:pos x="T50" y="T51"/>
                        </a:cxn>
                        <a:cxn ang="T104">
                          <a:pos x="T52" y="T53"/>
                        </a:cxn>
                        <a:cxn ang="T105">
                          <a:pos x="T54" y="T55"/>
                        </a:cxn>
                        <a:cxn ang="T106">
                          <a:pos x="T56" y="T57"/>
                        </a:cxn>
                        <a:cxn ang="T107">
                          <a:pos x="T58" y="T59"/>
                        </a:cxn>
                        <a:cxn ang="T108">
                          <a:pos x="T60" y="T61"/>
                        </a:cxn>
                        <a:cxn ang="T109">
                          <a:pos x="T62" y="T63"/>
                        </a:cxn>
                        <a:cxn ang="T110">
                          <a:pos x="T64" y="T65"/>
                        </a:cxn>
                        <a:cxn ang="T111">
                          <a:pos x="T66" y="T67"/>
                        </a:cxn>
                        <a:cxn ang="T112">
                          <a:pos x="T68" y="T69"/>
                        </a:cxn>
                        <a:cxn ang="T113">
                          <a:pos x="T70" y="T71"/>
                        </a:cxn>
                        <a:cxn ang="T114">
                          <a:pos x="T72" y="T73"/>
                        </a:cxn>
                        <a:cxn ang="T115">
                          <a:pos x="T74" y="T75"/>
                        </a:cxn>
                        <a:cxn ang="T116">
                          <a:pos x="T76" y="T77"/>
                        </a:cxn>
                      </a:cxnLst>
                      <a:rect l="T117" t="T118" r="T119" b="T120"/>
                      <a:pathLst>
                        <a:path w="493" h="868">
                          <a:moveTo>
                            <a:pt x="232" y="0"/>
                          </a:moveTo>
                          <a:lnTo>
                            <a:pt x="188" y="115"/>
                          </a:lnTo>
                          <a:lnTo>
                            <a:pt x="165" y="183"/>
                          </a:lnTo>
                          <a:lnTo>
                            <a:pt x="148" y="215"/>
                          </a:lnTo>
                          <a:lnTo>
                            <a:pt x="87" y="288"/>
                          </a:lnTo>
                          <a:lnTo>
                            <a:pt x="33" y="379"/>
                          </a:lnTo>
                          <a:lnTo>
                            <a:pt x="13" y="445"/>
                          </a:lnTo>
                          <a:lnTo>
                            <a:pt x="0" y="503"/>
                          </a:lnTo>
                          <a:lnTo>
                            <a:pt x="13" y="556"/>
                          </a:lnTo>
                          <a:lnTo>
                            <a:pt x="74" y="637"/>
                          </a:lnTo>
                          <a:lnTo>
                            <a:pt x="154" y="751"/>
                          </a:lnTo>
                          <a:lnTo>
                            <a:pt x="201" y="836"/>
                          </a:lnTo>
                          <a:lnTo>
                            <a:pt x="232" y="852"/>
                          </a:lnTo>
                          <a:lnTo>
                            <a:pt x="279" y="865"/>
                          </a:lnTo>
                          <a:lnTo>
                            <a:pt x="330" y="868"/>
                          </a:lnTo>
                          <a:lnTo>
                            <a:pt x="374" y="865"/>
                          </a:lnTo>
                          <a:lnTo>
                            <a:pt x="414" y="862"/>
                          </a:lnTo>
                          <a:lnTo>
                            <a:pt x="434" y="845"/>
                          </a:lnTo>
                          <a:lnTo>
                            <a:pt x="380" y="780"/>
                          </a:lnTo>
                          <a:lnTo>
                            <a:pt x="319" y="689"/>
                          </a:lnTo>
                          <a:lnTo>
                            <a:pt x="286" y="620"/>
                          </a:lnTo>
                          <a:lnTo>
                            <a:pt x="253" y="571"/>
                          </a:lnTo>
                          <a:lnTo>
                            <a:pt x="229" y="513"/>
                          </a:lnTo>
                          <a:lnTo>
                            <a:pt x="201" y="477"/>
                          </a:lnTo>
                          <a:lnTo>
                            <a:pt x="154" y="457"/>
                          </a:lnTo>
                          <a:lnTo>
                            <a:pt x="222" y="480"/>
                          </a:lnTo>
                          <a:lnTo>
                            <a:pt x="245" y="431"/>
                          </a:lnTo>
                          <a:lnTo>
                            <a:pt x="279" y="376"/>
                          </a:lnTo>
                          <a:lnTo>
                            <a:pt x="316" y="311"/>
                          </a:lnTo>
                          <a:lnTo>
                            <a:pt x="360" y="265"/>
                          </a:lnTo>
                          <a:lnTo>
                            <a:pt x="404" y="255"/>
                          </a:lnTo>
                          <a:lnTo>
                            <a:pt x="451" y="232"/>
                          </a:lnTo>
                          <a:lnTo>
                            <a:pt x="477" y="189"/>
                          </a:lnTo>
                          <a:lnTo>
                            <a:pt x="493" y="108"/>
                          </a:lnTo>
                          <a:lnTo>
                            <a:pt x="493" y="36"/>
                          </a:lnTo>
                          <a:lnTo>
                            <a:pt x="493" y="4"/>
                          </a:lnTo>
                          <a:lnTo>
                            <a:pt x="407" y="7"/>
                          </a:lnTo>
                          <a:lnTo>
                            <a:pt x="336" y="7"/>
                          </a:lnTo>
                          <a:lnTo>
                            <a:pt x="232" y="0"/>
                          </a:lnTo>
                          <a:close/>
                        </a:path>
                      </a:pathLst>
                    </a:custGeom>
                    <a:solidFill>
                      <a:srgbClr val="0000E0"/>
                    </a:solidFill>
                    <a:ln w="1588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id-ID"/>
                    </a:p>
                  </p:txBody>
                </p:sp>
                <p:grpSp>
                  <p:nvGrpSpPr>
                    <p:cNvPr id="178" name="Group 1648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809" y="1437"/>
                      <a:ext cx="9" cy="10"/>
                      <a:chOff x="809" y="1437"/>
                      <a:chExt cx="9" cy="10"/>
                    </a:xfrm>
                  </p:grpSpPr>
                  <p:sp>
                    <p:nvSpPr>
                      <p:cNvPr id="179" name="Freeform 164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809" y="1437"/>
                        <a:ext cx="7" cy="7"/>
                      </a:xfrm>
                      <a:custGeom>
                        <a:avLst/>
                        <a:gdLst>
                          <a:gd name="T0" fmla="*/ 0 w 93"/>
                          <a:gd name="T1" fmla="*/ 0 h 99"/>
                          <a:gd name="T2" fmla="*/ 0 w 93"/>
                          <a:gd name="T3" fmla="*/ 0 h 99"/>
                          <a:gd name="T4" fmla="*/ 0 w 93"/>
                          <a:gd name="T5" fmla="*/ 0 h 99"/>
                          <a:gd name="T6" fmla="*/ 0 w 93"/>
                          <a:gd name="T7" fmla="*/ 0 h 99"/>
                          <a:gd name="T8" fmla="*/ 0 w 93"/>
                          <a:gd name="T9" fmla="*/ 0 h 99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93"/>
                          <a:gd name="T16" fmla="*/ 0 h 99"/>
                          <a:gd name="T17" fmla="*/ 93 w 93"/>
                          <a:gd name="T18" fmla="*/ 99 h 99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93" h="99">
                            <a:moveTo>
                              <a:pt x="93" y="0"/>
                            </a:moveTo>
                            <a:lnTo>
                              <a:pt x="80" y="36"/>
                            </a:lnTo>
                            <a:lnTo>
                              <a:pt x="60" y="64"/>
                            </a:lnTo>
                            <a:lnTo>
                              <a:pt x="36" y="83"/>
                            </a:lnTo>
                            <a:lnTo>
                              <a:pt x="0" y="99"/>
                            </a:lnTo>
                          </a:path>
                        </a:pathLst>
                      </a:custGeom>
                      <a:noFill/>
                      <a:ln w="1588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id-ID"/>
                      </a:p>
                    </p:txBody>
                  </p:sp>
                  <p:sp>
                    <p:nvSpPr>
                      <p:cNvPr id="180" name="Freeform 165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811" y="1439"/>
                        <a:ext cx="7" cy="8"/>
                      </a:xfrm>
                      <a:custGeom>
                        <a:avLst/>
                        <a:gdLst>
                          <a:gd name="T0" fmla="*/ 0 w 102"/>
                          <a:gd name="T1" fmla="*/ 0 h 109"/>
                          <a:gd name="T2" fmla="*/ 0 w 102"/>
                          <a:gd name="T3" fmla="*/ 0 h 109"/>
                          <a:gd name="T4" fmla="*/ 0 w 102"/>
                          <a:gd name="T5" fmla="*/ 0 h 109"/>
                          <a:gd name="T6" fmla="*/ 0 w 102"/>
                          <a:gd name="T7" fmla="*/ 0 h 109"/>
                          <a:gd name="T8" fmla="*/ 0 w 102"/>
                          <a:gd name="T9" fmla="*/ 0 h 109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102"/>
                          <a:gd name="T16" fmla="*/ 0 h 109"/>
                          <a:gd name="T17" fmla="*/ 102 w 102"/>
                          <a:gd name="T18" fmla="*/ 109 h 109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102" h="109">
                            <a:moveTo>
                              <a:pt x="102" y="0"/>
                            </a:moveTo>
                            <a:lnTo>
                              <a:pt x="89" y="40"/>
                            </a:lnTo>
                            <a:lnTo>
                              <a:pt x="67" y="71"/>
                            </a:lnTo>
                            <a:lnTo>
                              <a:pt x="39" y="93"/>
                            </a:lnTo>
                            <a:lnTo>
                              <a:pt x="0" y="109"/>
                            </a:lnTo>
                          </a:path>
                        </a:pathLst>
                      </a:custGeom>
                      <a:noFill/>
                      <a:ln w="1588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id-ID"/>
                      </a:p>
                    </p:txBody>
                  </p:sp>
                </p:grpSp>
              </p:grpSp>
              <p:sp>
                <p:nvSpPr>
                  <p:cNvPr id="144" name="Freeform 1651"/>
                  <p:cNvSpPr>
                    <a:spLocks/>
                  </p:cNvSpPr>
                  <p:nvPr/>
                </p:nvSpPr>
                <p:spPr bwMode="auto">
                  <a:xfrm>
                    <a:off x="752" y="1349"/>
                    <a:ext cx="25" cy="24"/>
                  </a:xfrm>
                  <a:custGeom>
                    <a:avLst/>
                    <a:gdLst>
                      <a:gd name="T0" fmla="*/ 0 w 346"/>
                      <a:gd name="T1" fmla="*/ 0 h 321"/>
                      <a:gd name="T2" fmla="*/ 0 w 346"/>
                      <a:gd name="T3" fmla="*/ 0 h 321"/>
                      <a:gd name="T4" fmla="*/ 0 w 346"/>
                      <a:gd name="T5" fmla="*/ 0 h 321"/>
                      <a:gd name="T6" fmla="*/ 0 w 346"/>
                      <a:gd name="T7" fmla="*/ 0 h 321"/>
                      <a:gd name="T8" fmla="*/ 0 w 346"/>
                      <a:gd name="T9" fmla="*/ 0 h 321"/>
                      <a:gd name="T10" fmla="*/ 0 w 346"/>
                      <a:gd name="T11" fmla="*/ 0 h 321"/>
                      <a:gd name="T12" fmla="*/ 0 w 346"/>
                      <a:gd name="T13" fmla="*/ 0 h 321"/>
                      <a:gd name="T14" fmla="*/ 0 w 346"/>
                      <a:gd name="T15" fmla="*/ 0 h 321"/>
                      <a:gd name="T16" fmla="*/ 0 w 346"/>
                      <a:gd name="T17" fmla="*/ 0 h 321"/>
                      <a:gd name="T18" fmla="*/ 0 w 346"/>
                      <a:gd name="T19" fmla="*/ 0 h 321"/>
                      <a:gd name="T20" fmla="*/ 0 w 346"/>
                      <a:gd name="T21" fmla="*/ 0 h 321"/>
                      <a:gd name="T22" fmla="*/ 0 w 346"/>
                      <a:gd name="T23" fmla="*/ 0 h 321"/>
                      <a:gd name="T24" fmla="*/ 0 w 346"/>
                      <a:gd name="T25" fmla="*/ 0 h 321"/>
                      <a:gd name="T26" fmla="*/ 0 w 346"/>
                      <a:gd name="T27" fmla="*/ 0 h 321"/>
                      <a:gd name="T28" fmla="*/ 0 w 346"/>
                      <a:gd name="T29" fmla="*/ 0 h 321"/>
                      <a:gd name="T30" fmla="*/ 0 w 346"/>
                      <a:gd name="T31" fmla="*/ 0 h 321"/>
                      <a:gd name="T32" fmla="*/ 0 w 346"/>
                      <a:gd name="T33" fmla="*/ 0 h 321"/>
                      <a:gd name="T34" fmla="*/ 0 w 346"/>
                      <a:gd name="T35" fmla="*/ 0 h 321"/>
                      <a:gd name="T36" fmla="*/ 0 w 346"/>
                      <a:gd name="T37" fmla="*/ 0 h 321"/>
                      <a:gd name="T38" fmla="*/ 0 w 346"/>
                      <a:gd name="T39" fmla="*/ 0 h 321"/>
                      <a:gd name="T40" fmla="*/ 0 w 346"/>
                      <a:gd name="T41" fmla="*/ 0 h 321"/>
                      <a:gd name="T42" fmla="*/ 0 w 346"/>
                      <a:gd name="T43" fmla="*/ 0 h 321"/>
                      <a:gd name="T44" fmla="*/ 0 w 346"/>
                      <a:gd name="T45" fmla="*/ 0 h 321"/>
                      <a:gd name="T46" fmla="*/ 0 w 346"/>
                      <a:gd name="T47" fmla="*/ 0 h 321"/>
                      <a:gd name="T48" fmla="*/ 0 w 346"/>
                      <a:gd name="T49" fmla="*/ 0 h 321"/>
                      <a:gd name="T50" fmla="*/ 0 w 346"/>
                      <a:gd name="T51" fmla="*/ 0 h 321"/>
                      <a:gd name="T52" fmla="*/ 0 w 346"/>
                      <a:gd name="T53" fmla="*/ 0 h 321"/>
                      <a:gd name="T54" fmla="*/ 0 w 346"/>
                      <a:gd name="T55" fmla="*/ 0 h 321"/>
                      <a:gd name="T56" fmla="*/ 0 w 346"/>
                      <a:gd name="T57" fmla="*/ 0 h 321"/>
                      <a:gd name="T58" fmla="*/ 0 w 346"/>
                      <a:gd name="T59" fmla="*/ 0 h 321"/>
                      <a:gd name="T60" fmla="*/ 0 w 346"/>
                      <a:gd name="T61" fmla="*/ 0 h 321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w 346"/>
                      <a:gd name="T94" fmla="*/ 0 h 321"/>
                      <a:gd name="T95" fmla="*/ 346 w 346"/>
                      <a:gd name="T96" fmla="*/ 321 h 321"/>
                    </a:gdLst>
                    <a:ahLst/>
                    <a:cxnLst>
                      <a:cxn ang="T62">
                        <a:pos x="T0" y="T1"/>
                      </a:cxn>
                      <a:cxn ang="T63">
                        <a:pos x="T2" y="T3"/>
                      </a:cxn>
                      <a:cxn ang="T64">
                        <a:pos x="T4" y="T5"/>
                      </a:cxn>
                      <a:cxn ang="T65">
                        <a:pos x="T6" y="T7"/>
                      </a:cxn>
                      <a:cxn ang="T66">
                        <a:pos x="T8" y="T9"/>
                      </a:cxn>
                      <a:cxn ang="T67">
                        <a:pos x="T10" y="T11"/>
                      </a:cxn>
                      <a:cxn ang="T68">
                        <a:pos x="T12" y="T13"/>
                      </a:cxn>
                      <a:cxn ang="T69">
                        <a:pos x="T14" y="T15"/>
                      </a:cxn>
                      <a:cxn ang="T70">
                        <a:pos x="T16" y="T17"/>
                      </a:cxn>
                      <a:cxn ang="T71">
                        <a:pos x="T18" y="T19"/>
                      </a:cxn>
                      <a:cxn ang="T72">
                        <a:pos x="T20" y="T21"/>
                      </a:cxn>
                      <a:cxn ang="T73">
                        <a:pos x="T22" y="T23"/>
                      </a:cxn>
                      <a:cxn ang="T74">
                        <a:pos x="T24" y="T25"/>
                      </a:cxn>
                      <a:cxn ang="T75">
                        <a:pos x="T26" y="T27"/>
                      </a:cxn>
                      <a:cxn ang="T76">
                        <a:pos x="T28" y="T29"/>
                      </a:cxn>
                      <a:cxn ang="T77">
                        <a:pos x="T30" y="T31"/>
                      </a:cxn>
                      <a:cxn ang="T78">
                        <a:pos x="T32" y="T33"/>
                      </a:cxn>
                      <a:cxn ang="T79">
                        <a:pos x="T34" y="T35"/>
                      </a:cxn>
                      <a:cxn ang="T80">
                        <a:pos x="T36" y="T37"/>
                      </a:cxn>
                      <a:cxn ang="T81">
                        <a:pos x="T38" y="T39"/>
                      </a:cxn>
                      <a:cxn ang="T82">
                        <a:pos x="T40" y="T41"/>
                      </a:cxn>
                      <a:cxn ang="T83">
                        <a:pos x="T42" y="T43"/>
                      </a:cxn>
                      <a:cxn ang="T84">
                        <a:pos x="T44" y="T45"/>
                      </a:cxn>
                      <a:cxn ang="T85">
                        <a:pos x="T46" y="T47"/>
                      </a:cxn>
                      <a:cxn ang="T86">
                        <a:pos x="T48" y="T49"/>
                      </a:cxn>
                      <a:cxn ang="T87">
                        <a:pos x="T50" y="T51"/>
                      </a:cxn>
                      <a:cxn ang="T88">
                        <a:pos x="T52" y="T53"/>
                      </a:cxn>
                      <a:cxn ang="T89">
                        <a:pos x="T54" y="T55"/>
                      </a:cxn>
                      <a:cxn ang="T90">
                        <a:pos x="T56" y="T57"/>
                      </a:cxn>
                      <a:cxn ang="T91">
                        <a:pos x="T58" y="T59"/>
                      </a:cxn>
                      <a:cxn ang="T92">
                        <a:pos x="T60" y="T61"/>
                      </a:cxn>
                    </a:cxnLst>
                    <a:rect l="T93" t="T94" r="T95" b="T96"/>
                    <a:pathLst>
                      <a:path w="346" h="321">
                        <a:moveTo>
                          <a:pt x="276" y="321"/>
                        </a:moveTo>
                        <a:lnTo>
                          <a:pt x="194" y="259"/>
                        </a:lnTo>
                        <a:lnTo>
                          <a:pt x="141" y="249"/>
                        </a:lnTo>
                        <a:lnTo>
                          <a:pt x="84" y="233"/>
                        </a:lnTo>
                        <a:lnTo>
                          <a:pt x="50" y="200"/>
                        </a:lnTo>
                        <a:lnTo>
                          <a:pt x="13" y="151"/>
                        </a:lnTo>
                        <a:lnTo>
                          <a:pt x="0" y="141"/>
                        </a:lnTo>
                        <a:lnTo>
                          <a:pt x="6" y="105"/>
                        </a:lnTo>
                        <a:lnTo>
                          <a:pt x="47" y="128"/>
                        </a:lnTo>
                        <a:lnTo>
                          <a:pt x="20" y="96"/>
                        </a:lnTo>
                        <a:lnTo>
                          <a:pt x="40" y="76"/>
                        </a:lnTo>
                        <a:lnTo>
                          <a:pt x="91" y="105"/>
                        </a:lnTo>
                        <a:lnTo>
                          <a:pt x="131" y="137"/>
                        </a:lnTo>
                        <a:lnTo>
                          <a:pt x="70" y="73"/>
                        </a:lnTo>
                        <a:lnTo>
                          <a:pt x="64" y="43"/>
                        </a:lnTo>
                        <a:lnTo>
                          <a:pt x="77" y="23"/>
                        </a:lnTo>
                        <a:lnTo>
                          <a:pt x="108" y="40"/>
                        </a:lnTo>
                        <a:lnTo>
                          <a:pt x="178" y="88"/>
                        </a:lnTo>
                        <a:lnTo>
                          <a:pt x="202" y="119"/>
                        </a:lnTo>
                        <a:lnTo>
                          <a:pt x="225" y="92"/>
                        </a:lnTo>
                        <a:lnTo>
                          <a:pt x="199" y="40"/>
                        </a:lnTo>
                        <a:lnTo>
                          <a:pt x="188" y="17"/>
                        </a:lnTo>
                        <a:lnTo>
                          <a:pt x="199" y="0"/>
                        </a:lnTo>
                        <a:lnTo>
                          <a:pt x="222" y="8"/>
                        </a:lnTo>
                        <a:lnTo>
                          <a:pt x="272" y="43"/>
                        </a:lnTo>
                        <a:lnTo>
                          <a:pt x="293" y="96"/>
                        </a:lnTo>
                        <a:lnTo>
                          <a:pt x="290" y="134"/>
                        </a:lnTo>
                        <a:lnTo>
                          <a:pt x="285" y="170"/>
                        </a:lnTo>
                        <a:lnTo>
                          <a:pt x="285" y="219"/>
                        </a:lnTo>
                        <a:lnTo>
                          <a:pt x="346" y="259"/>
                        </a:lnTo>
                        <a:lnTo>
                          <a:pt x="276" y="321"/>
                        </a:lnTo>
                        <a:close/>
                      </a:path>
                    </a:pathLst>
                  </a:custGeom>
                  <a:solidFill>
                    <a:srgbClr val="FFE0C0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  <p:sp>
                <p:nvSpPr>
                  <p:cNvPr id="145" name="Freeform 1652"/>
                  <p:cNvSpPr>
                    <a:spLocks/>
                  </p:cNvSpPr>
                  <p:nvPr/>
                </p:nvSpPr>
                <p:spPr bwMode="auto">
                  <a:xfrm>
                    <a:off x="766" y="1362"/>
                    <a:ext cx="53" cy="64"/>
                  </a:xfrm>
                  <a:custGeom>
                    <a:avLst/>
                    <a:gdLst>
                      <a:gd name="T0" fmla="*/ 0 w 745"/>
                      <a:gd name="T1" fmla="*/ 0 h 833"/>
                      <a:gd name="T2" fmla="*/ 0 w 745"/>
                      <a:gd name="T3" fmla="*/ 0 h 833"/>
                      <a:gd name="T4" fmla="*/ 0 w 745"/>
                      <a:gd name="T5" fmla="*/ 0 h 833"/>
                      <a:gd name="T6" fmla="*/ 0 w 745"/>
                      <a:gd name="T7" fmla="*/ 0 h 833"/>
                      <a:gd name="T8" fmla="*/ 0 w 745"/>
                      <a:gd name="T9" fmla="*/ 0 h 833"/>
                      <a:gd name="T10" fmla="*/ 0 w 745"/>
                      <a:gd name="T11" fmla="*/ 0 h 833"/>
                      <a:gd name="T12" fmla="*/ 0 w 745"/>
                      <a:gd name="T13" fmla="*/ 0 h 833"/>
                      <a:gd name="T14" fmla="*/ 0 w 745"/>
                      <a:gd name="T15" fmla="*/ 0 h 833"/>
                      <a:gd name="T16" fmla="*/ 0 w 745"/>
                      <a:gd name="T17" fmla="*/ 0 h 833"/>
                      <a:gd name="T18" fmla="*/ 0 w 745"/>
                      <a:gd name="T19" fmla="*/ 0 h 833"/>
                      <a:gd name="T20" fmla="*/ 0 w 745"/>
                      <a:gd name="T21" fmla="*/ 0 h 833"/>
                      <a:gd name="T22" fmla="*/ 0 w 745"/>
                      <a:gd name="T23" fmla="*/ 0 h 833"/>
                      <a:gd name="T24" fmla="*/ 0 w 745"/>
                      <a:gd name="T25" fmla="*/ 0 h 833"/>
                      <a:gd name="T26" fmla="*/ 0 w 745"/>
                      <a:gd name="T27" fmla="*/ 0 h 833"/>
                      <a:gd name="T28" fmla="*/ 0 w 745"/>
                      <a:gd name="T29" fmla="*/ 0 h 833"/>
                      <a:gd name="T30" fmla="*/ 0 w 745"/>
                      <a:gd name="T31" fmla="*/ 0 h 833"/>
                      <a:gd name="T32" fmla="*/ 0 w 745"/>
                      <a:gd name="T33" fmla="*/ 0 h 833"/>
                      <a:gd name="T34" fmla="*/ 0 w 745"/>
                      <a:gd name="T35" fmla="*/ 0 h 833"/>
                      <a:gd name="T36" fmla="*/ 0 w 745"/>
                      <a:gd name="T37" fmla="*/ 0 h 833"/>
                      <a:gd name="T38" fmla="*/ 0 w 745"/>
                      <a:gd name="T39" fmla="*/ 0 h 833"/>
                      <a:gd name="T40" fmla="*/ 0 w 745"/>
                      <a:gd name="T41" fmla="*/ 0 h 833"/>
                      <a:gd name="T42" fmla="*/ 0 w 745"/>
                      <a:gd name="T43" fmla="*/ 0 h 833"/>
                      <a:gd name="T44" fmla="*/ 0 w 745"/>
                      <a:gd name="T45" fmla="*/ 0 h 833"/>
                      <a:gd name="T46" fmla="*/ 0 w 745"/>
                      <a:gd name="T47" fmla="*/ 0 h 833"/>
                      <a:gd name="T48" fmla="*/ 0 w 745"/>
                      <a:gd name="T49" fmla="*/ 0 h 833"/>
                      <a:gd name="T50" fmla="*/ 0 w 745"/>
                      <a:gd name="T51" fmla="*/ 0 h 833"/>
                      <a:gd name="T52" fmla="*/ 0 w 745"/>
                      <a:gd name="T53" fmla="*/ 0 h 833"/>
                      <a:gd name="T54" fmla="*/ 0 w 745"/>
                      <a:gd name="T55" fmla="*/ 0 h 833"/>
                      <a:gd name="T56" fmla="*/ 0 w 745"/>
                      <a:gd name="T57" fmla="*/ 0 h 833"/>
                      <a:gd name="T58" fmla="*/ 0 w 745"/>
                      <a:gd name="T59" fmla="*/ 0 h 833"/>
                      <a:gd name="T60" fmla="*/ 0 w 745"/>
                      <a:gd name="T61" fmla="*/ 0 h 833"/>
                      <a:gd name="T62" fmla="*/ 0 w 745"/>
                      <a:gd name="T63" fmla="*/ 0 h 833"/>
                      <a:gd name="T64" fmla="*/ 0 w 745"/>
                      <a:gd name="T65" fmla="*/ 0 h 833"/>
                      <a:gd name="T66" fmla="*/ 0 w 745"/>
                      <a:gd name="T67" fmla="*/ 0 h 833"/>
                      <a:gd name="T68" fmla="*/ 0 w 745"/>
                      <a:gd name="T69" fmla="*/ 0 h 833"/>
                      <a:gd name="T70" fmla="*/ 0 w 745"/>
                      <a:gd name="T71" fmla="*/ 0 h 833"/>
                      <a:gd name="T72" fmla="*/ 0 w 745"/>
                      <a:gd name="T73" fmla="*/ 0 h 833"/>
                      <a:gd name="T74" fmla="*/ 0 w 745"/>
                      <a:gd name="T75" fmla="*/ 0 h 833"/>
                      <a:gd name="T76" fmla="*/ 0 w 745"/>
                      <a:gd name="T77" fmla="*/ 0 h 833"/>
                      <a:gd name="T78" fmla="*/ 0 w 745"/>
                      <a:gd name="T79" fmla="*/ 0 h 833"/>
                      <a:gd name="T80" fmla="*/ 0 w 745"/>
                      <a:gd name="T81" fmla="*/ 0 h 833"/>
                      <a:gd name="T82" fmla="*/ 0 w 745"/>
                      <a:gd name="T83" fmla="*/ 0 h 833"/>
                      <a:gd name="T84" fmla="*/ 0 w 745"/>
                      <a:gd name="T85" fmla="*/ 0 h 833"/>
                      <a:gd name="T86" fmla="*/ 0 w 745"/>
                      <a:gd name="T87" fmla="*/ 0 h 833"/>
                      <a:gd name="T88" fmla="*/ 0 w 745"/>
                      <a:gd name="T89" fmla="*/ 0 h 833"/>
                      <a:gd name="T90" fmla="*/ 0 w 745"/>
                      <a:gd name="T91" fmla="*/ 0 h 833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w 745"/>
                      <a:gd name="T139" fmla="*/ 0 h 833"/>
                      <a:gd name="T140" fmla="*/ 745 w 745"/>
                      <a:gd name="T141" fmla="*/ 833 h 833"/>
                    </a:gdLst>
                    <a:ahLst/>
                    <a:cxnLst>
                      <a:cxn ang="T92">
                        <a:pos x="T0" y="T1"/>
                      </a:cxn>
                      <a:cxn ang="T93">
                        <a:pos x="T2" y="T3"/>
                      </a:cxn>
                      <a:cxn ang="T94">
                        <a:pos x="T4" y="T5"/>
                      </a:cxn>
                      <a:cxn ang="T95">
                        <a:pos x="T6" y="T7"/>
                      </a:cxn>
                      <a:cxn ang="T96">
                        <a:pos x="T8" y="T9"/>
                      </a:cxn>
                      <a:cxn ang="T97">
                        <a:pos x="T10" y="T11"/>
                      </a:cxn>
                      <a:cxn ang="T98">
                        <a:pos x="T12" y="T13"/>
                      </a:cxn>
                      <a:cxn ang="T99">
                        <a:pos x="T14" y="T15"/>
                      </a:cxn>
                      <a:cxn ang="T100">
                        <a:pos x="T16" y="T17"/>
                      </a:cxn>
                      <a:cxn ang="T101">
                        <a:pos x="T18" y="T19"/>
                      </a:cxn>
                      <a:cxn ang="T102">
                        <a:pos x="T20" y="T21"/>
                      </a:cxn>
                      <a:cxn ang="T103">
                        <a:pos x="T22" y="T23"/>
                      </a:cxn>
                      <a:cxn ang="T104">
                        <a:pos x="T24" y="T25"/>
                      </a:cxn>
                      <a:cxn ang="T105">
                        <a:pos x="T26" y="T27"/>
                      </a:cxn>
                      <a:cxn ang="T106">
                        <a:pos x="T28" y="T29"/>
                      </a:cxn>
                      <a:cxn ang="T107">
                        <a:pos x="T30" y="T31"/>
                      </a:cxn>
                      <a:cxn ang="T108">
                        <a:pos x="T32" y="T33"/>
                      </a:cxn>
                      <a:cxn ang="T109">
                        <a:pos x="T34" y="T35"/>
                      </a:cxn>
                      <a:cxn ang="T110">
                        <a:pos x="T36" y="T37"/>
                      </a:cxn>
                      <a:cxn ang="T111">
                        <a:pos x="T38" y="T39"/>
                      </a:cxn>
                      <a:cxn ang="T112">
                        <a:pos x="T40" y="T41"/>
                      </a:cxn>
                      <a:cxn ang="T113">
                        <a:pos x="T42" y="T43"/>
                      </a:cxn>
                      <a:cxn ang="T114">
                        <a:pos x="T44" y="T45"/>
                      </a:cxn>
                      <a:cxn ang="T115">
                        <a:pos x="T46" y="T47"/>
                      </a:cxn>
                      <a:cxn ang="T116">
                        <a:pos x="T48" y="T49"/>
                      </a:cxn>
                      <a:cxn ang="T117">
                        <a:pos x="T50" y="T51"/>
                      </a:cxn>
                      <a:cxn ang="T118">
                        <a:pos x="T52" y="T53"/>
                      </a:cxn>
                      <a:cxn ang="T119">
                        <a:pos x="T54" y="T55"/>
                      </a:cxn>
                      <a:cxn ang="T120">
                        <a:pos x="T56" y="T57"/>
                      </a:cxn>
                      <a:cxn ang="T121">
                        <a:pos x="T58" y="T59"/>
                      </a:cxn>
                      <a:cxn ang="T122">
                        <a:pos x="T60" y="T61"/>
                      </a:cxn>
                      <a:cxn ang="T123">
                        <a:pos x="T62" y="T63"/>
                      </a:cxn>
                      <a:cxn ang="T124">
                        <a:pos x="T64" y="T65"/>
                      </a:cxn>
                      <a:cxn ang="T125">
                        <a:pos x="T66" y="T67"/>
                      </a:cxn>
                      <a:cxn ang="T126">
                        <a:pos x="T68" y="T69"/>
                      </a:cxn>
                      <a:cxn ang="T127">
                        <a:pos x="T70" y="T71"/>
                      </a:cxn>
                      <a:cxn ang="T128">
                        <a:pos x="T72" y="T73"/>
                      </a:cxn>
                      <a:cxn ang="T129">
                        <a:pos x="T74" y="T75"/>
                      </a:cxn>
                      <a:cxn ang="T130">
                        <a:pos x="T76" y="T77"/>
                      </a:cxn>
                      <a:cxn ang="T131">
                        <a:pos x="T78" y="T79"/>
                      </a:cxn>
                      <a:cxn ang="T132">
                        <a:pos x="T80" y="T81"/>
                      </a:cxn>
                      <a:cxn ang="T133">
                        <a:pos x="T82" y="T83"/>
                      </a:cxn>
                      <a:cxn ang="T134">
                        <a:pos x="T84" y="T85"/>
                      </a:cxn>
                      <a:cxn ang="T135">
                        <a:pos x="T86" y="T87"/>
                      </a:cxn>
                      <a:cxn ang="T136">
                        <a:pos x="T88" y="T89"/>
                      </a:cxn>
                      <a:cxn ang="T137">
                        <a:pos x="T90" y="T91"/>
                      </a:cxn>
                    </a:cxnLst>
                    <a:rect l="T138" t="T139" r="T140" b="T141"/>
                    <a:pathLst>
                      <a:path w="745" h="833">
                        <a:moveTo>
                          <a:pt x="682" y="273"/>
                        </a:moveTo>
                        <a:lnTo>
                          <a:pt x="646" y="243"/>
                        </a:lnTo>
                        <a:lnTo>
                          <a:pt x="616" y="247"/>
                        </a:lnTo>
                        <a:lnTo>
                          <a:pt x="521" y="268"/>
                        </a:lnTo>
                        <a:lnTo>
                          <a:pt x="481" y="308"/>
                        </a:lnTo>
                        <a:lnTo>
                          <a:pt x="436" y="290"/>
                        </a:lnTo>
                        <a:lnTo>
                          <a:pt x="374" y="264"/>
                        </a:lnTo>
                        <a:lnTo>
                          <a:pt x="346" y="273"/>
                        </a:lnTo>
                        <a:lnTo>
                          <a:pt x="329" y="255"/>
                        </a:lnTo>
                        <a:lnTo>
                          <a:pt x="301" y="255"/>
                        </a:lnTo>
                        <a:lnTo>
                          <a:pt x="243" y="199"/>
                        </a:lnTo>
                        <a:lnTo>
                          <a:pt x="162" y="82"/>
                        </a:lnTo>
                        <a:lnTo>
                          <a:pt x="100" y="0"/>
                        </a:lnTo>
                        <a:lnTo>
                          <a:pt x="0" y="135"/>
                        </a:lnTo>
                        <a:lnTo>
                          <a:pt x="100" y="199"/>
                        </a:lnTo>
                        <a:lnTo>
                          <a:pt x="198" y="290"/>
                        </a:lnTo>
                        <a:lnTo>
                          <a:pt x="261" y="346"/>
                        </a:lnTo>
                        <a:lnTo>
                          <a:pt x="252" y="382"/>
                        </a:lnTo>
                        <a:lnTo>
                          <a:pt x="297" y="416"/>
                        </a:lnTo>
                        <a:lnTo>
                          <a:pt x="342" y="416"/>
                        </a:lnTo>
                        <a:lnTo>
                          <a:pt x="391" y="473"/>
                        </a:lnTo>
                        <a:lnTo>
                          <a:pt x="423" y="508"/>
                        </a:lnTo>
                        <a:lnTo>
                          <a:pt x="409" y="560"/>
                        </a:lnTo>
                        <a:lnTo>
                          <a:pt x="396" y="647"/>
                        </a:lnTo>
                        <a:lnTo>
                          <a:pt x="382" y="691"/>
                        </a:lnTo>
                        <a:lnTo>
                          <a:pt x="378" y="739"/>
                        </a:lnTo>
                        <a:lnTo>
                          <a:pt x="391" y="795"/>
                        </a:lnTo>
                        <a:lnTo>
                          <a:pt x="419" y="821"/>
                        </a:lnTo>
                        <a:lnTo>
                          <a:pt x="468" y="829"/>
                        </a:lnTo>
                        <a:lnTo>
                          <a:pt x="548" y="833"/>
                        </a:lnTo>
                        <a:lnTo>
                          <a:pt x="625" y="829"/>
                        </a:lnTo>
                        <a:lnTo>
                          <a:pt x="673" y="817"/>
                        </a:lnTo>
                        <a:lnTo>
                          <a:pt x="713" y="785"/>
                        </a:lnTo>
                        <a:lnTo>
                          <a:pt x="723" y="703"/>
                        </a:lnTo>
                        <a:lnTo>
                          <a:pt x="718" y="665"/>
                        </a:lnTo>
                        <a:lnTo>
                          <a:pt x="731" y="595"/>
                        </a:lnTo>
                        <a:lnTo>
                          <a:pt x="718" y="578"/>
                        </a:lnTo>
                        <a:lnTo>
                          <a:pt x="718" y="543"/>
                        </a:lnTo>
                        <a:lnTo>
                          <a:pt x="731" y="519"/>
                        </a:lnTo>
                        <a:lnTo>
                          <a:pt x="741" y="491"/>
                        </a:lnTo>
                        <a:lnTo>
                          <a:pt x="745" y="446"/>
                        </a:lnTo>
                        <a:lnTo>
                          <a:pt x="741" y="408"/>
                        </a:lnTo>
                        <a:lnTo>
                          <a:pt x="734" y="365"/>
                        </a:lnTo>
                        <a:lnTo>
                          <a:pt x="723" y="334"/>
                        </a:lnTo>
                        <a:lnTo>
                          <a:pt x="708" y="303"/>
                        </a:lnTo>
                        <a:lnTo>
                          <a:pt x="682" y="273"/>
                        </a:lnTo>
                        <a:close/>
                      </a:path>
                    </a:pathLst>
                  </a:custGeom>
                  <a:solidFill>
                    <a:srgbClr val="4040FF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  <p:grpSp>
                <p:nvGrpSpPr>
                  <p:cNvPr id="146" name="Group 1653"/>
                  <p:cNvGrpSpPr>
                    <a:grpSpLocks/>
                  </p:cNvGrpSpPr>
                  <p:nvPr/>
                </p:nvGrpSpPr>
                <p:grpSpPr bwMode="auto">
                  <a:xfrm>
                    <a:off x="796" y="1383"/>
                    <a:ext cx="21" cy="38"/>
                    <a:chOff x="796" y="1383"/>
                    <a:chExt cx="21" cy="38"/>
                  </a:xfrm>
                </p:grpSpPr>
                <p:grpSp>
                  <p:nvGrpSpPr>
                    <p:cNvPr id="169" name="Group 1654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799" y="1388"/>
                      <a:ext cx="18" cy="33"/>
                      <a:chOff x="799" y="1388"/>
                      <a:chExt cx="18" cy="33"/>
                    </a:xfrm>
                  </p:grpSpPr>
                  <p:sp>
                    <p:nvSpPr>
                      <p:cNvPr id="172" name="Freeform 165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805" y="1408"/>
                        <a:ext cx="12" cy="13"/>
                      </a:xfrm>
                      <a:custGeom>
                        <a:avLst/>
                        <a:gdLst>
                          <a:gd name="T0" fmla="*/ 0 w 159"/>
                          <a:gd name="T1" fmla="*/ 0 h 175"/>
                          <a:gd name="T2" fmla="*/ 0 w 159"/>
                          <a:gd name="T3" fmla="*/ 0 h 175"/>
                          <a:gd name="T4" fmla="*/ 0 w 159"/>
                          <a:gd name="T5" fmla="*/ 0 h 175"/>
                          <a:gd name="T6" fmla="*/ 0 w 159"/>
                          <a:gd name="T7" fmla="*/ 0 h 175"/>
                          <a:gd name="T8" fmla="*/ 0 w 159"/>
                          <a:gd name="T9" fmla="*/ 0 h 175"/>
                          <a:gd name="T10" fmla="*/ 0 w 159"/>
                          <a:gd name="T11" fmla="*/ 0 h 175"/>
                          <a:gd name="T12" fmla="*/ 0 w 159"/>
                          <a:gd name="T13" fmla="*/ 0 h 175"/>
                          <a:gd name="T14" fmla="*/ 0 w 159"/>
                          <a:gd name="T15" fmla="*/ 0 h 175"/>
                          <a:gd name="T16" fmla="*/ 0 w 159"/>
                          <a:gd name="T17" fmla="*/ 0 h 175"/>
                          <a:gd name="T18" fmla="*/ 0 w 159"/>
                          <a:gd name="T19" fmla="*/ 0 h 175"/>
                          <a:gd name="T20" fmla="*/ 0 w 159"/>
                          <a:gd name="T21" fmla="*/ 0 h 175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60000 65536"/>
                          <a:gd name="T28" fmla="*/ 0 60000 65536"/>
                          <a:gd name="T29" fmla="*/ 0 60000 65536"/>
                          <a:gd name="T30" fmla="*/ 0 60000 65536"/>
                          <a:gd name="T31" fmla="*/ 0 60000 65536"/>
                          <a:gd name="T32" fmla="*/ 0 60000 65536"/>
                          <a:gd name="T33" fmla="*/ 0 w 159"/>
                          <a:gd name="T34" fmla="*/ 0 h 175"/>
                          <a:gd name="T35" fmla="*/ 159 w 159"/>
                          <a:gd name="T36" fmla="*/ 175 h 175"/>
                        </a:gdLst>
                        <a:ahLst/>
                        <a:cxnLst>
                          <a:cxn ang="T22">
                            <a:pos x="T0" y="T1"/>
                          </a:cxn>
                          <a:cxn ang="T23">
                            <a:pos x="T2" y="T3"/>
                          </a:cxn>
                          <a:cxn ang="T24">
                            <a:pos x="T4" y="T5"/>
                          </a:cxn>
                          <a:cxn ang="T25">
                            <a:pos x="T6" y="T7"/>
                          </a:cxn>
                          <a:cxn ang="T26">
                            <a:pos x="T8" y="T9"/>
                          </a:cxn>
                          <a:cxn ang="T27">
                            <a:pos x="T10" y="T11"/>
                          </a:cxn>
                          <a:cxn ang="T28">
                            <a:pos x="T12" y="T13"/>
                          </a:cxn>
                          <a:cxn ang="T29">
                            <a:pos x="T14" y="T15"/>
                          </a:cxn>
                          <a:cxn ang="T30">
                            <a:pos x="T16" y="T17"/>
                          </a:cxn>
                          <a:cxn ang="T31">
                            <a:pos x="T18" y="T19"/>
                          </a:cxn>
                          <a:cxn ang="T32">
                            <a:pos x="T20" y="T21"/>
                          </a:cxn>
                        </a:cxnLst>
                        <a:rect l="T33" t="T34" r="T35" b="T36"/>
                        <a:pathLst>
                          <a:path w="159" h="175">
                            <a:moveTo>
                              <a:pt x="155" y="0"/>
                            </a:moveTo>
                            <a:lnTo>
                              <a:pt x="117" y="83"/>
                            </a:lnTo>
                            <a:lnTo>
                              <a:pt x="83" y="132"/>
                            </a:lnTo>
                            <a:lnTo>
                              <a:pt x="37" y="167"/>
                            </a:lnTo>
                            <a:lnTo>
                              <a:pt x="0" y="171"/>
                            </a:lnTo>
                            <a:lnTo>
                              <a:pt x="60" y="175"/>
                            </a:lnTo>
                            <a:lnTo>
                              <a:pt x="124" y="158"/>
                            </a:lnTo>
                            <a:lnTo>
                              <a:pt x="150" y="137"/>
                            </a:lnTo>
                            <a:lnTo>
                              <a:pt x="150" y="115"/>
                            </a:lnTo>
                            <a:lnTo>
                              <a:pt x="159" y="67"/>
                            </a:lnTo>
                            <a:lnTo>
                              <a:pt x="155" y="0"/>
                            </a:lnTo>
                            <a:close/>
                          </a:path>
                        </a:pathLst>
                      </a:custGeom>
                      <a:solidFill>
                        <a:srgbClr val="0000E0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id-ID"/>
                      </a:p>
                    </p:txBody>
                  </p:sp>
                  <p:sp>
                    <p:nvSpPr>
                      <p:cNvPr id="173" name="Freeform 165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799" y="1388"/>
                        <a:ext cx="7" cy="14"/>
                      </a:xfrm>
                      <a:custGeom>
                        <a:avLst/>
                        <a:gdLst>
                          <a:gd name="T0" fmla="*/ 0 w 101"/>
                          <a:gd name="T1" fmla="*/ 0 h 181"/>
                          <a:gd name="T2" fmla="*/ 0 w 101"/>
                          <a:gd name="T3" fmla="*/ 0 h 181"/>
                          <a:gd name="T4" fmla="*/ 0 w 101"/>
                          <a:gd name="T5" fmla="*/ 0 h 181"/>
                          <a:gd name="T6" fmla="*/ 0 w 101"/>
                          <a:gd name="T7" fmla="*/ 0 h 181"/>
                          <a:gd name="T8" fmla="*/ 0 w 101"/>
                          <a:gd name="T9" fmla="*/ 0 h 181"/>
                          <a:gd name="T10" fmla="*/ 0 w 101"/>
                          <a:gd name="T11" fmla="*/ 0 h 181"/>
                          <a:gd name="T12" fmla="*/ 0 w 101"/>
                          <a:gd name="T13" fmla="*/ 0 h 181"/>
                          <a:gd name="T14" fmla="*/ 0 w 101"/>
                          <a:gd name="T15" fmla="*/ 0 h 181"/>
                          <a:gd name="T16" fmla="*/ 0 w 101"/>
                          <a:gd name="T17" fmla="*/ 0 h 181"/>
                          <a:gd name="T18" fmla="*/ 0 w 101"/>
                          <a:gd name="T19" fmla="*/ 0 h 181"/>
                          <a:gd name="T20" fmla="*/ 0 w 101"/>
                          <a:gd name="T21" fmla="*/ 0 h 181"/>
                          <a:gd name="T22" fmla="*/ 0 w 101"/>
                          <a:gd name="T23" fmla="*/ 0 h 181"/>
                          <a:gd name="T24" fmla="*/ 0 60000 65536"/>
                          <a:gd name="T25" fmla="*/ 0 60000 65536"/>
                          <a:gd name="T26" fmla="*/ 0 60000 65536"/>
                          <a:gd name="T27" fmla="*/ 0 60000 65536"/>
                          <a:gd name="T28" fmla="*/ 0 60000 65536"/>
                          <a:gd name="T29" fmla="*/ 0 60000 65536"/>
                          <a:gd name="T30" fmla="*/ 0 60000 65536"/>
                          <a:gd name="T31" fmla="*/ 0 60000 65536"/>
                          <a:gd name="T32" fmla="*/ 0 60000 65536"/>
                          <a:gd name="T33" fmla="*/ 0 60000 65536"/>
                          <a:gd name="T34" fmla="*/ 0 60000 65536"/>
                          <a:gd name="T35" fmla="*/ 0 60000 65536"/>
                          <a:gd name="T36" fmla="*/ 0 w 101"/>
                          <a:gd name="T37" fmla="*/ 0 h 181"/>
                          <a:gd name="T38" fmla="*/ 101 w 101"/>
                          <a:gd name="T39" fmla="*/ 181 h 181"/>
                        </a:gdLst>
                        <a:ahLst/>
                        <a:cxnLst>
                          <a:cxn ang="T24">
                            <a:pos x="T0" y="T1"/>
                          </a:cxn>
                          <a:cxn ang="T25">
                            <a:pos x="T2" y="T3"/>
                          </a:cxn>
                          <a:cxn ang="T26">
                            <a:pos x="T4" y="T5"/>
                          </a:cxn>
                          <a:cxn ang="T27">
                            <a:pos x="T6" y="T7"/>
                          </a:cxn>
                          <a:cxn ang="T28">
                            <a:pos x="T8" y="T9"/>
                          </a:cxn>
                          <a:cxn ang="T29">
                            <a:pos x="T10" y="T11"/>
                          </a:cxn>
                          <a:cxn ang="T30">
                            <a:pos x="T12" y="T13"/>
                          </a:cxn>
                          <a:cxn ang="T31">
                            <a:pos x="T14" y="T15"/>
                          </a:cxn>
                          <a:cxn ang="T32">
                            <a:pos x="T16" y="T17"/>
                          </a:cxn>
                          <a:cxn ang="T33">
                            <a:pos x="T18" y="T19"/>
                          </a:cxn>
                          <a:cxn ang="T34">
                            <a:pos x="T20" y="T21"/>
                          </a:cxn>
                          <a:cxn ang="T35">
                            <a:pos x="T22" y="T23"/>
                          </a:cxn>
                        </a:cxnLst>
                        <a:rect l="T36" t="T37" r="T38" b="T39"/>
                        <a:pathLst>
                          <a:path w="101" h="181">
                            <a:moveTo>
                              <a:pt x="63" y="0"/>
                            </a:moveTo>
                            <a:lnTo>
                              <a:pt x="92" y="54"/>
                            </a:lnTo>
                            <a:lnTo>
                              <a:pt x="101" y="128"/>
                            </a:lnTo>
                            <a:lnTo>
                              <a:pt x="87" y="168"/>
                            </a:lnTo>
                            <a:lnTo>
                              <a:pt x="68" y="106"/>
                            </a:lnTo>
                            <a:lnTo>
                              <a:pt x="50" y="147"/>
                            </a:lnTo>
                            <a:lnTo>
                              <a:pt x="32" y="168"/>
                            </a:lnTo>
                            <a:lnTo>
                              <a:pt x="0" y="181"/>
                            </a:lnTo>
                            <a:lnTo>
                              <a:pt x="36" y="137"/>
                            </a:lnTo>
                            <a:lnTo>
                              <a:pt x="63" y="80"/>
                            </a:lnTo>
                            <a:lnTo>
                              <a:pt x="68" y="35"/>
                            </a:lnTo>
                            <a:lnTo>
                              <a:pt x="63" y="0"/>
                            </a:lnTo>
                            <a:close/>
                          </a:path>
                        </a:pathLst>
                      </a:custGeom>
                      <a:solidFill>
                        <a:srgbClr val="0000E0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id-ID"/>
                      </a:p>
                    </p:txBody>
                  </p:sp>
                </p:grpSp>
                <p:sp>
                  <p:nvSpPr>
                    <p:cNvPr id="170" name="Freeform 1657"/>
                    <p:cNvSpPr>
                      <a:spLocks/>
                    </p:cNvSpPr>
                    <p:nvPr/>
                  </p:nvSpPr>
                  <p:spPr bwMode="auto">
                    <a:xfrm>
                      <a:off x="796" y="1400"/>
                      <a:ext cx="8" cy="8"/>
                    </a:xfrm>
                    <a:custGeom>
                      <a:avLst/>
                      <a:gdLst>
                        <a:gd name="T0" fmla="*/ 0 w 107"/>
                        <a:gd name="T1" fmla="*/ 0 h 105"/>
                        <a:gd name="T2" fmla="*/ 0 w 107"/>
                        <a:gd name="T3" fmla="*/ 0 h 105"/>
                        <a:gd name="T4" fmla="*/ 0 w 107"/>
                        <a:gd name="T5" fmla="*/ 0 h 105"/>
                        <a:gd name="T6" fmla="*/ 0 w 107"/>
                        <a:gd name="T7" fmla="*/ 0 h 105"/>
                        <a:gd name="T8" fmla="*/ 0 w 107"/>
                        <a:gd name="T9" fmla="*/ 0 h 10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07"/>
                        <a:gd name="T16" fmla="*/ 0 h 105"/>
                        <a:gd name="T17" fmla="*/ 107 w 107"/>
                        <a:gd name="T18" fmla="*/ 105 h 10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07" h="105">
                          <a:moveTo>
                            <a:pt x="0" y="0"/>
                          </a:moveTo>
                          <a:lnTo>
                            <a:pt x="49" y="39"/>
                          </a:lnTo>
                          <a:lnTo>
                            <a:pt x="98" y="69"/>
                          </a:lnTo>
                          <a:lnTo>
                            <a:pt x="45" y="65"/>
                          </a:lnTo>
                          <a:lnTo>
                            <a:pt x="107" y="105"/>
                          </a:lnTo>
                        </a:path>
                      </a:pathLst>
                    </a:custGeom>
                    <a:noFill/>
                    <a:ln w="1588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id-ID"/>
                    </a:p>
                  </p:txBody>
                </p:sp>
                <p:sp>
                  <p:nvSpPr>
                    <p:cNvPr id="171" name="Freeform 1658"/>
                    <p:cNvSpPr>
                      <a:spLocks/>
                    </p:cNvSpPr>
                    <p:nvPr/>
                  </p:nvSpPr>
                  <p:spPr bwMode="auto">
                    <a:xfrm>
                      <a:off x="802" y="1383"/>
                      <a:ext cx="11" cy="4"/>
                    </a:xfrm>
                    <a:custGeom>
                      <a:avLst/>
                      <a:gdLst>
                        <a:gd name="T0" fmla="*/ 0 w 161"/>
                        <a:gd name="T1" fmla="*/ 0 h 52"/>
                        <a:gd name="T2" fmla="*/ 0 w 161"/>
                        <a:gd name="T3" fmla="*/ 0 h 52"/>
                        <a:gd name="T4" fmla="*/ 0 w 161"/>
                        <a:gd name="T5" fmla="*/ 0 h 52"/>
                        <a:gd name="T6" fmla="*/ 0 w 161"/>
                        <a:gd name="T7" fmla="*/ 0 h 52"/>
                        <a:gd name="T8" fmla="*/ 0 60000 65536"/>
                        <a:gd name="T9" fmla="*/ 0 60000 65536"/>
                        <a:gd name="T10" fmla="*/ 0 60000 65536"/>
                        <a:gd name="T11" fmla="*/ 0 60000 65536"/>
                        <a:gd name="T12" fmla="*/ 0 w 161"/>
                        <a:gd name="T13" fmla="*/ 0 h 52"/>
                        <a:gd name="T14" fmla="*/ 161 w 161"/>
                        <a:gd name="T15" fmla="*/ 52 h 52"/>
                      </a:gdLst>
                      <a:ahLst/>
                      <a:cxnLst>
                        <a:cxn ang="T8">
                          <a:pos x="T0" y="T1"/>
                        </a:cxn>
                        <a:cxn ang="T9">
                          <a:pos x="T2" y="T3"/>
                        </a:cxn>
                        <a:cxn ang="T10">
                          <a:pos x="T4" y="T5"/>
                        </a:cxn>
                        <a:cxn ang="T11">
                          <a:pos x="T6" y="T7"/>
                        </a:cxn>
                      </a:cxnLst>
                      <a:rect l="T12" t="T13" r="T14" b="T15"/>
                      <a:pathLst>
                        <a:path w="161" h="52">
                          <a:moveTo>
                            <a:pt x="10" y="2"/>
                          </a:moveTo>
                          <a:lnTo>
                            <a:pt x="0" y="52"/>
                          </a:lnTo>
                          <a:lnTo>
                            <a:pt x="108" y="26"/>
                          </a:lnTo>
                          <a:lnTo>
                            <a:pt x="161" y="0"/>
                          </a:lnTo>
                        </a:path>
                      </a:pathLst>
                    </a:custGeom>
                    <a:noFill/>
                    <a:ln w="1588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id-ID"/>
                    </a:p>
                  </p:txBody>
                </p:sp>
              </p:grpSp>
              <p:grpSp>
                <p:nvGrpSpPr>
                  <p:cNvPr id="147" name="Group 1659"/>
                  <p:cNvGrpSpPr>
                    <a:grpSpLocks/>
                  </p:cNvGrpSpPr>
                  <p:nvPr/>
                </p:nvGrpSpPr>
                <p:grpSpPr bwMode="auto">
                  <a:xfrm>
                    <a:off x="787" y="1339"/>
                    <a:ext cx="61" cy="45"/>
                    <a:chOff x="787" y="1339"/>
                    <a:chExt cx="61" cy="45"/>
                  </a:xfrm>
                </p:grpSpPr>
                <p:grpSp>
                  <p:nvGrpSpPr>
                    <p:cNvPr id="148" name="Group 166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787" y="1342"/>
                      <a:ext cx="55" cy="42"/>
                      <a:chOff x="787" y="1342"/>
                      <a:chExt cx="55" cy="42"/>
                    </a:xfrm>
                  </p:grpSpPr>
                  <p:sp>
                    <p:nvSpPr>
                      <p:cNvPr id="158" name="Freeform 166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787" y="1342"/>
                        <a:ext cx="55" cy="42"/>
                      </a:xfrm>
                      <a:custGeom>
                        <a:avLst/>
                        <a:gdLst>
                          <a:gd name="T0" fmla="*/ 0 w 772"/>
                          <a:gd name="T1" fmla="*/ 0 h 535"/>
                          <a:gd name="T2" fmla="*/ 0 w 772"/>
                          <a:gd name="T3" fmla="*/ 0 h 535"/>
                          <a:gd name="T4" fmla="*/ 0 w 772"/>
                          <a:gd name="T5" fmla="*/ 0 h 535"/>
                          <a:gd name="T6" fmla="*/ 0 w 772"/>
                          <a:gd name="T7" fmla="*/ 0 h 535"/>
                          <a:gd name="T8" fmla="*/ 0 w 772"/>
                          <a:gd name="T9" fmla="*/ 0 h 535"/>
                          <a:gd name="T10" fmla="*/ 0 w 772"/>
                          <a:gd name="T11" fmla="*/ 0 h 535"/>
                          <a:gd name="T12" fmla="*/ 0 w 772"/>
                          <a:gd name="T13" fmla="*/ 0 h 535"/>
                          <a:gd name="T14" fmla="*/ 0 w 772"/>
                          <a:gd name="T15" fmla="*/ 0 h 535"/>
                          <a:gd name="T16" fmla="*/ 0 w 772"/>
                          <a:gd name="T17" fmla="*/ 0 h 535"/>
                          <a:gd name="T18" fmla="*/ 0 w 772"/>
                          <a:gd name="T19" fmla="*/ 0 h 535"/>
                          <a:gd name="T20" fmla="*/ 0 w 772"/>
                          <a:gd name="T21" fmla="*/ 0 h 535"/>
                          <a:gd name="T22" fmla="*/ 0 w 772"/>
                          <a:gd name="T23" fmla="*/ 0 h 535"/>
                          <a:gd name="T24" fmla="*/ 0 w 772"/>
                          <a:gd name="T25" fmla="*/ 0 h 535"/>
                          <a:gd name="T26" fmla="*/ 0 w 772"/>
                          <a:gd name="T27" fmla="*/ 0 h 535"/>
                          <a:gd name="T28" fmla="*/ 0 w 772"/>
                          <a:gd name="T29" fmla="*/ 0 h 535"/>
                          <a:gd name="T30" fmla="*/ 0 w 772"/>
                          <a:gd name="T31" fmla="*/ 0 h 535"/>
                          <a:gd name="T32" fmla="*/ 0 w 772"/>
                          <a:gd name="T33" fmla="*/ 0 h 535"/>
                          <a:gd name="T34" fmla="*/ 0 w 772"/>
                          <a:gd name="T35" fmla="*/ 0 h 535"/>
                          <a:gd name="T36" fmla="*/ 0 w 772"/>
                          <a:gd name="T37" fmla="*/ 0 h 535"/>
                          <a:gd name="T38" fmla="*/ 0 w 772"/>
                          <a:gd name="T39" fmla="*/ 0 h 535"/>
                          <a:gd name="T40" fmla="*/ 0 w 772"/>
                          <a:gd name="T41" fmla="*/ 0 h 535"/>
                          <a:gd name="T42" fmla="*/ 0 w 772"/>
                          <a:gd name="T43" fmla="*/ 0 h 535"/>
                          <a:gd name="T44" fmla="*/ 0 w 772"/>
                          <a:gd name="T45" fmla="*/ 0 h 535"/>
                          <a:gd name="T46" fmla="*/ 0 w 772"/>
                          <a:gd name="T47" fmla="*/ 0 h 535"/>
                          <a:gd name="T48" fmla="*/ 0 w 772"/>
                          <a:gd name="T49" fmla="*/ 0 h 535"/>
                          <a:gd name="T50" fmla="*/ 0 w 772"/>
                          <a:gd name="T51" fmla="*/ 0 h 535"/>
                          <a:gd name="T52" fmla="*/ 0 w 772"/>
                          <a:gd name="T53" fmla="*/ 0 h 535"/>
                          <a:gd name="T54" fmla="*/ 0 w 772"/>
                          <a:gd name="T55" fmla="*/ 0 h 535"/>
                          <a:gd name="T56" fmla="*/ 0 w 772"/>
                          <a:gd name="T57" fmla="*/ 0 h 535"/>
                          <a:gd name="T58" fmla="*/ 0 w 772"/>
                          <a:gd name="T59" fmla="*/ 0 h 535"/>
                          <a:gd name="T60" fmla="*/ 0 w 772"/>
                          <a:gd name="T61" fmla="*/ 0 h 535"/>
                          <a:gd name="T62" fmla="*/ 0 w 772"/>
                          <a:gd name="T63" fmla="*/ 0 h 535"/>
                          <a:gd name="T64" fmla="*/ 0 w 772"/>
                          <a:gd name="T65" fmla="*/ 0 h 535"/>
                          <a:gd name="T66" fmla="*/ 0 w 772"/>
                          <a:gd name="T67" fmla="*/ 0 h 535"/>
                          <a:gd name="T68" fmla="*/ 0 w 772"/>
                          <a:gd name="T69" fmla="*/ 0 h 535"/>
                          <a:gd name="T70" fmla="*/ 0 w 772"/>
                          <a:gd name="T71" fmla="*/ 0 h 535"/>
                          <a:gd name="T72" fmla="*/ 0 60000 65536"/>
                          <a:gd name="T73" fmla="*/ 0 60000 65536"/>
                          <a:gd name="T74" fmla="*/ 0 60000 65536"/>
                          <a:gd name="T75" fmla="*/ 0 60000 65536"/>
                          <a:gd name="T76" fmla="*/ 0 60000 65536"/>
                          <a:gd name="T77" fmla="*/ 0 60000 65536"/>
                          <a:gd name="T78" fmla="*/ 0 60000 65536"/>
                          <a:gd name="T79" fmla="*/ 0 60000 65536"/>
                          <a:gd name="T80" fmla="*/ 0 60000 65536"/>
                          <a:gd name="T81" fmla="*/ 0 60000 65536"/>
                          <a:gd name="T82" fmla="*/ 0 60000 65536"/>
                          <a:gd name="T83" fmla="*/ 0 60000 65536"/>
                          <a:gd name="T84" fmla="*/ 0 60000 65536"/>
                          <a:gd name="T85" fmla="*/ 0 60000 65536"/>
                          <a:gd name="T86" fmla="*/ 0 60000 65536"/>
                          <a:gd name="T87" fmla="*/ 0 60000 65536"/>
                          <a:gd name="T88" fmla="*/ 0 60000 65536"/>
                          <a:gd name="T89" fmla="*/ 0 60000 65536"/>
                          <a:gd name="T90" fmla="*/ 0 60000 65536"/>
                          <a:gd name="T91" fmla="*/ 0 60000 65536"/>
                          <a:gd name="T92" fmla="*/ 0 60000 65536"/>
                          <a:gd name="T93" fmla="*/ 0 60000 65536"/>
                          <a:gd name="T94" fmla="*/ 0 60000 65536"/>
                          <a:gd name="T95" fmla="*/ 0 60000 65536"/>
                          <a:gd name="T96" fmla="*/ 0 60000 65536"/>
                          <a:gd name="T97" fmla="*/ 0 60000 65536"/>
                          <a:gd name="T98" fmla="*/ 0 60000 65536"/>
                          <a:gd name="T99" fmla="*/ 0 60000 65536"/>
                          <a:gd name="T100" fmla="*/ 0 60000 65536"/>
                          <a:gd name="T101" fmla="*/ 0 60000 65536"/>
                          <a:gd name="T102" fmla="*/ 0 60000 65536"/>
                          <a:gd name="T103" fmla="*/ 0 60000 65536"/>
                          <a:gd name="T104" fmla="*/ 0 60000 65536"/>
                          <a:gd name="T105" fmla="*/ 0 60000 65536"/>
                          <a:gd name="T106" fmla="*/ 0 60000 65536"/>
                          <a:gd name="T107" fmla="*/ 0 60000 65536"/>
                          <a:gd name="T108" fmla="*/ 0 w 772"/>
                          <a:gd name="T109" fmla="*/ 0 h 535"/>
                          <a:gd name="T110" fmla="*/ 772 w 772"/>
                          <a:gd name="T111" fmla="*/ 535 h 535"/>
                        </a:gdLst>
                        <a:ahLst/>
                        <a:cxnLst>
                          <a:cxn ang="T72">
                            <a:pos x="T0" y="T1"/>
                          </a:cxn>
                          <a:cxn ang="T73">
                            <a:pos x="T2" y="T3"/>
                          </a:cxn>
                          <a:cxn ang="T74">
                            <a:pos x="T4" y="T5"/>
                          </a:cxn>
                          <a:cxn ang="T75">
                            <a:pos x="T6" y="T7"/>
                          </a:cxn>
                          <a:cxn ang="T76">
                            <a:pos x="T8" y="T9"/>
                          </a:cxn>
                          <a:cxn ang="T77">
                            <a:pos x="T10" y="T11"/>
                          </a:cxn>
                          <a:cxn ang="T78">
                            <a:pos x="T12" y="T13"/>
                          </a:cxn>
                          <a:cxn ang="T79">
                            <a:pos x="T14" y="T15"/>
                          </a:cxn>
                          <a:cxn ang="T80">
                            <a:pos x="T16" y="T17"/>
                          </a:cxn>
                          <a:cxn ang="T81">
                            <a:pos x="T18" y="T19"/>
                          </a:cxn>
                          <a:cxn ang="T82">
                            <a:pos x="T20" y="T21"/>
                          </a:cxn>
                          <a:cxn ang="T83">
                            <a:pos x="T22" y="T23"/>
                          </a:cxn>
                          <a:cxn ang="T84">
                            <a:pos x="T24" y="T25"/>
                          </a:cxn>
                          <a:cxn ang="T85">
                            <a:pos x="T26" y="T27"/>
                          </a:cxn>
                          <a:cxn ang="T86">
                            <a:pos x="T28" y="T29"/>
                          </a:cxn>
                          <a:cxn ang="T87">
                            <a:pos x="T30" y="T31"/>
                          </a:cxn>
                          <a:cxn ang="T88">
                            <a:pos x="T32" y="T33"/>
                          </a:cxn>
                          <a:cxn ang="T89">
                            <a:pos x="T34" y="T35"/>
                          </a:cxn>
                          <a:cxn ang="T90">
                            <a:pos x="T36" y="T37"/>
                          </a:cxn>
                          <a:cxn ang="T91">
                            <a:pos x="T38" y="T39"/>
                          </a:cxn>
                          <a:cxn ang="T92">
                            <a:pos x="T40" y="T41"/>
                          </a:cxn>
                          <a:cxn ang="T93">
                            <a:pos x="T42" y="T43"/>
                          </a:cxn>
                          <a:cxn ang="T94">
                            <a:pos x="T44" y="T45"/>
                          </a:cxn>
                          <a:cxn ang="T95">
                            <a:pos x="T46" y="T47"/>
                          </a:cxn>
                          <a:cxn ang="T96">
                            <a:pos x="T48" y="T49"/>
                          </a:cxn>
                          <a:cxn ang="T97">
                            <a:pos x="T50" y="T51"/>
                          </a:cxn>
                          <a:cxn ang="T98">
                            <a:pos x="T52" y="T53"/>
                          </a:cxn>
                          <a:cxn ang="T99">
                            <a:pos x="T54" y="T55"/>
                          </a:cxn>
                          <a:cxn ang="T100">
                            <a:pos x="T56" y="T57"/>
                          </a:cxn>
                          <a:cxn ang="T101">
                            <a:pos x="T58" y="T59"/>
                          </a:cxn>
                          <a:cxn ang="T102">
                            <a:pos x="T60" y="T61"/>
                          </a:cxn>
                          <a:cxn ang="T103">
                            <a:pos x="T62" y="T63"/>
                          </a:cxn>
                          <a:cxn ang="T104">
                            <a:pos x="T64" y="T65"/>
                          </a:cxn>
                          <a:cxn ang="T105">
                            <a:pos x="T66" y="T67"/>
                          </a:cxn>
                          <a:cxn ang="T106">
                            <a:pos x="T68" y="T69"/>
                          </a:cxn>
                          <a:cxn ang="T107">
                            <a:pos x="T70" y="T71"/>
                          </a:cxn>
                        </a:cxnLst>
                        <a:rect l="T108" t="T109" r="T110" b="T111"/>
                        <a:pathLst>
                          <a:path w="772" h="535">
                            <a:moveTo>
                              <a:pt x="443" y="12"/>
                            </a:moveTo>
                            <a:lnTo>
                              <a:pt x="385" y="29"/>
                            </a:lnTo>
                            <a:lnTo>
                              <a:pt x="352" y="51"/>
                            </a:lnTo>
                            <a:lnTo>
                              <a:pt x="326" y="65"/>
                            </a:lnTo>
                            <a:lnTo>
                              <a:pt x="309" y="45"/>
                            </a:lnTo>
                            <a:lnTo>
                              <a:pt x="296" y="31"/>
                            </a:lnTo>
                            <a:lnTo>
                              <a:pt x="282" y="24"/>
                            </a:lnTo>
                            <a:lnTo>
                              <a:pt x="260" y="16"/>
                            </a:lnTo>
                            <a:lnTo>
                              <a:pt x="238" y="12"/>
                            </a:lnTo>
                            <a:lnTo>
                              <a:pt x="220" y="9"/>
                            </a:lnTo>
                            <a:lnTo>
                              <a:pt x="201" y="10"/>
                            </a:lnTo>
                            <a:lnTo>
                              <a:pt x="177" y="15"/>
                            </a:lnTo>
                            <a:lnTo>
                              <a:pt x="154" y="25"/>
                            </a:lnTo>
                            <a:lnTo>
                              <a:pt x="139" y="36"/>
                            </a:lnTo>
                            <a:lnTo>
                              <a:pt x="130" y="48"/>
                            </a:lnTo>
                            <a:lnTo>
                              <a:pt x="121" y="64"/>
                            </a:lnTo>
                            <a:lnTo>
                              <a:pt x="115" y="89"/>
                            </a:lnTo>
                            <a:lnTo>
                              <a:pt x="117" y="110"/>
                            </a:lnTo>
                            <a:lnTo>
                              <a:pt x="130" y="133"/>
                            </a:lnTo>
                            <a:lnTo>
                              <a:pt x="153" y="147"/>
                            </a:lnTo>
                            <a:lnTo>
                              <a:pt x="177" y="157"/>
                            </a:lnTo>
                            <a:lnTo>
                              <a:pt x="189" y="161"/>
                            </a:lnTo>
                            <a:lnTo>
                              <a:pt x="161" y="172"/>
                            </a:lnTo>
                            <a:lnTo>
                              <a:pt x="151" y="182"/>
                            </a:lnTo>
                            <a:lnTo>
                              <a:pt x="174" y="199"/>
                            </a:lnTo>
                            <a:lnTo>
                              <a:pt x="185" y="247"/>
                            </a:lnTo>
                            <a:lnTo>
                              <a:pt x="182" y="283"/>
                            </a:lnTo>
                            <a:lnTo>
                              <a:pt x="174" y="310"/>
                            </a:lnTo>
                            <a:lnTo>
                              <a:pt x="147" y="325"/>
                            </a:lnTo>
                            <a:lnTo>
                              <a:pt x="127" y="325"/>
                            </a:lnTo>
                            <a:lnTo>
                              <a:pt x="91" y="319"/>
                            </a:lnTo>
                            <a:lnTo>
                              <a:pt x="77" y="290"/>
                            </a:lnTo>
                            <a:lnTo>
                              <a:pt x="70" y="260"/>
                            </a:lnTo>
                            <a:lnTo>
                              <a:pt x="43" y="264"/>
                            </a:lnTo>
                            <a:lnTo>
                              <a:pt x="30" y="276"/>
                            </a:lnTo>
                            <a:lnTo>
                              <a:pt x="9" y="280"/>
                            </a:lnTo>
                            <a:lnTo>
                              <a:pt x="0" y="293"/>
                            </a:lnTo>
                            <a:lnTo>
                              <a:pt x="0" y="319"/>
                            </a:lnTo>
                            <a:lnTo>
                              <a:pt x="12" y="362"/>
                            </a:lnTo>
                            <a:lnTo>
                              <a:pt x="43" y="412"/>
                            </a:lnTo>
                            <a:lnTo>
                              <a:pt x="97" y="468"/>
                            </a:lnTo>
                            <a:lnTo>
                              <a:pt x="122" y="486"/>
                            </a:lnTo>
                            <a:lnTo>
                              <a:pt x="158" y="509"/>
                            </a:lnTo>
                            <a:lnTo>
                              <a:pt x="218" y="534"/>
                            </a:lnTo>
                            <a:lnTo>
                              <a:pt x="238" y="535"/>
                            </a:lnTo>
                            <a:lnTo>
                              <a:pt x="282" y="532"/>
                            </a:lnTo>
                            <a:lnTo>
                              <a:pt x="326" y="521"/>
                            </a:lnTo>
                            <a:lnTo>
                              <a:pt x="355" y="514"/>
                            </a:lnTo>
                            <a:lnTo>
                              <a:pt x="413" y="462"/>
                            </a:lnTo>
                            <a:lnTo>
                              <a:pt x="434" y="471"/>
                            </a:lnTo>
                            <a:lnTo>
                              <a:pt x="460" y="478"/>
                            </a:lnTo>
                            <a:lnTo>
                              <a:pt x="483" y="476"/>
                            </a:lnTo>
                            <a:lnTo>
                              <a:pt x="507" y="472"/>
                            </a:lnTo>
                            <a:lnTo>
                              <a:pt x="531" y="463"/>
                            </a:lnTo>
                            <a:lnTo>
                              <a:pt x="554" y="452"/>
                            </a:lnTo>
                            <a:lnTo>
                              <a:pt x="621" y="420"/>
                            </a:lnTo>
                            <a:lnTo>
                              <a:pt x="642" y="406"/>
                            </a:lnTo>
                            <a:lnTo>
                              <a:pt x="658" y="394"/>
                            </a:lnTo>
                            <a:lnTo>
                              <a:pt x="692" y="371"/>
                            </a:lnTo>
                            <a:lnTo>
                              <a:pt x="719" y="345"/>
                            </a:lnTo>
                            <a:lnTo>
                              <a:pt x="746" y="316"/>
                            </a:lnTo>
                            <a:lnTo>
                              <a:pt x="759" y="283"/>
                            </a:lnTo>
                            <a:lnTo>
                              <a:pt x="769" y="243"/>
                            </a:lnTo>
                            <a:lnTo>
                              <a:pt x="772" y="209"/>
                            </a:lnTo>
                            <a:lnTo>
                              <a:pt x="768" y="154"/>
                            </a:lnTo>
                            <a:lnTo>
                              <a:pt x="751" y="106"/>
                            </a:lnTo>
                            <a:lnTo>
                              <a:pt x="727" y="70"/>
                            </a:lnTo>
                            <a:lnTo>
                              <a:pt x="690" y="36"/>
                            </a:lnTo>
                            <a:lnTo>
                              <a:pt x="636" y="12"/>
                            </a:lnTo>
                            <a:lnTo>
                              <a:pt x="564" y="0"/>
                            </a:lnTo>
                            <a:lnTo>
                              <a:pt x="499" y="1"/>
                            </a:lnTo>
                            <a:lnTo>
                              <a:pt x="443" y="12"/>
                            </a:lnTo>
                            <a:close/>
                          </a:path>
                        </a:pathLst>
                      </a:custGeom>
                      <a:solidFill>
                        <a:srgbClr val="FFE0C0"/>
                      </a:solidFill>
                      <a:ln w="1588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id-ID"/>
                      </a:p>
                    </p:txBody>
                  </p:sp>
                  <p:grpSp>
                    <p:nvGrpSpPr>
                      <p:cNvPr id="159" name="Group 1662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806" y="1347"/>
                        <a:ext cx="9" cy="8"/>
                        <a:chOff x="806" y="1347"/>
                        <a:chExt cx="9" cy="8"/>
                      </a:xfrm>
                    </p:grpSpPr>
                    <p:sp>
                      <p:nvSpPr>
                        <p:cNvPr id="166" name="Oval 1663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806" y="1347"/>
                          <a:ext cx="9" cy="8"/>
                        </a:xfrm>
                        <a:prstGeom prst="ellipse">
                          <a:avLst/>
                        </a:prstGeom>
                        <a:solidFill>
                          <a:srgbClr val="FFFFFF"/>
                        </a:solidFill>
                        <a:ln w="1588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831526"/>
                          <a:endParaRPr lang="ko-KR" altLang="en-US" sz="1671">
                            <a:solidFill>
                              <a:srgbClr val="000000"/>
                            </a:solidFill>
                            <a:latin typeface="Malgun Gothic" pitchFamily="34" charset="-127"/>
                          </a:endParaRPr>
                        </a:p>
                      </p:txBody>
                    </p:sp>
                    <p:sp>
                      <p:nvSpPr>
                        <p:cNvPr id="167" name="Oval 1664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808" y="1348"/>
                          <a:ext cx="5" cy="4"/>
                        </a:xfrm>
                        <a:prstGeom prst="ellipse">
                          <a:avLst/>
                        </a:prstGeom>
                        <a:solidFill>
                          <a:srgbClr val="4040FF"/>
                        </a:solidFill>
                        <a:ln w="1588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831526"/>
                          <a:endParaRPr lang="ko-KR" altLang="en-US" sz="1671">
                            <a:solidFill>
                              <a:srgbClr val="000000"/>
                            </a:solidFill>
                            <a:latin typeface="Malgun Gothic" pitchFamily="34" charset="-127"/>
                          </a:endParaRPr>
                        </a:p>
                      </p:txBody>
                    </p:sp>
                    <p:sp>
                      <p:nvSpPr>
                        <p:cNvPr id="168" name="Oval 1665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809" y="1348"/>
                          <a:ext cx="2" cy="2"/>
                        </a:xfrm>
                        <a:prstGeom prst="ellipse">
                          <a:avLst/>
                        </a:prstGeom>
                        <a:solidFill>
                          <a:srgbClr val="E0E0E0"/>
                        </a:solidFill>
                        <a:ln w="1588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831526"/>
                          <a:endParaRPr lang="ko-KR" altLang="en-US" sz="1671">
                            <a:solidFill>
                              <a:srgbClr val="000000"/>
                            </a:solidFill>
                            <a:latin typeface="Malgun Gothic" pitchFamily="34" charset="-127"/>
                          </a:endParaRPr>
                        </a:p>
                      </p:txBody>
                    </p:sp>
                  </p:grpSp>
                  <p:sp>
                    <p:nvSpPr>
                      <p:cNvPr id="160" name="Freeform 166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812" y="1352"/>
                        <a:ext cx="27" cy="31"/>
                      </a:xfrm>
                      <a:custGeom>
                        <a:avLst/>
                        <a:gdLst>
                          <a:gd name="T0" fmla="*/ 0 w 371"/>
                          <a:gd name="T1" fmla="*/ 0 h 401"/>
                          <a:gd name="T2" fmla="*/ 0 w 371"/>
                          <a:gd name="T3" fmla="*/ 0 h 401"/>
                          <a:gd name="T4" fmla="*/ 0 w 371"/>
                          <a:gd name="T5" fmla="*/ 0 h 401"/>
                          <a:gd name="T6" fmla="*/ 0 w 371"/>
                          <a:gd name="T7" fmla="*/ 0 h 401"/>
                          <a:gd name="T8" fmla="*/ 0 w 371"/>
                          <a:gd name="T9" fmla="*/ 0 h 401"/>
                          <a:gd name="T10" fmla="*/ 0 w 371"/>
                          <a:gd name="T11" fmla="*/ 0 h 401"/>
                          <a:gd name="T12" fmla="*/ 0 w 371"/>
                          <a:gd name="T13" fmla="*/ 0 h 401"/>
                          <a:gd name="T14" fmla="*/ 0 w 371"/>
                          <a:gd name="T15" fmla="*/ 0 h 401"/>
                          <a:gd name="T16" fmla="*/ 0 w 371"/>
                          <a:gd name="T17" fmla="*/ 0 h 401"/>
                          <a:gd name="T18" fmla="*/ 0 w 371"/>
                          <a:gd name="T19" fmla="*/ 0 h 401"/>
                          <a:gd name="T20" fmla="*/ 0 w 371"/>
                          <a:gd name="T21" fmla="*/ 0 h 401"/>
                          <a:gd name="T22" fmla="*/ 0 w 371"/>
                          <a:gd name="T23" fmla="*/ 0 h 401"/>
                          <a:gd name="T24" fmla="*/ 0 w 371"/>
                          <a:gd name="T25" fmla="*/ 0 h 401"/>
                          <a:gd name="T26" fmla="*/ 0 w 371"/>
                          <a:gd name="T27" fmla="*/ 0 h 401"/>
                          <a:gd name="T28" fmla="*/ 0 w 371"/>
                          <a:gd name="T29" fmla="*/ 0 h 401"/>
                          <a:gd name="T30" fmla="*/ 0 w 371"/>
                          <a:gd name="T31" fmla="*/ 0 h 401"/>
                          <a:gd name="T32" fmla="*/ 0 w 371"/>
                          <a:gd name="T33" fmla="*/ 0 h 401"/>
                          <a:gd name="T34" fmla="*/ 0 w 371"/>
                          <a:gd name="T35" fmla="*/ 0 h 401"/>
                          <a:gd name="T36" fmla="*/ 0 w 371"/>
                          <a:gd name="T37" fmla="*/ 0 h 401"/>
                          <a:gd name="T38" fmla="*/ 0 w 371"/>
                          <a:gd name="T39" fmla="*/ 0 h 401"/>
                          <a:gd name="T40" fmla="*/ 0 w 371"/>
                          <a:gd name="T41" fmla="*/ 0 h 401"/>
                          <a:gd name="T42" fmla="*/ 0 w 371"/>
                          <a:gd name="T43" fmla="*/ 0 h 401"/>
                          <a:gd name="T44" fmla="*/ 0 w 371"/>
                          <a:gd name="T45" fmla="*/ 0 h 401"/>
                          <a:gd name="T46" fmla="*/ 0 w 371"/>
                          <a:gd name="T47" fmla="*/ 0 h 401"/>
                          <a:gd name="T48" fmla="*/ 0 w 371"/>
                          <a:gd name="T49" fmla="*/ 0 h 401"/>
                          <a:gd name="T50" fmla="*/ 0 w 371"/>
                          <a:gd name="T51" fmla="*/ 0 h 401"/>
                          <a:gd name="T52" fmla="*/ 0 w 371"/>
                          <a:gd name="T53" fmla="*/ 0 h 401"/>
                          <a:gd name="T54" fmla="*/ 0 w 371"/>
                          <a:gd name="T55" fmla="*/ 0 h 401"/>
                          <a:gd name="T56" fmla="*/ 0 w 371"/>
                          <a:gd name="T57" fmla="*/ 0 h 401"/>
                          <a:gd name="T58" fmla="*/ 0 w 371"/>
                          <a:gd name="T59" fmla="*/ 0 h 401"/>
                          <a:gd name="T60" fmla="*/ 0 w 371"/>
                          <a:gd name="T61" fmla="*/ 0 h 401"/>
                          <a:gd name="T62" fmla="*/ 0 w 371"/>
                          <a:gd name="T63" fmla="*/ 0 h 401"/>
                          <a:gd name="T64" fmla="*/ 0 w 371"/>
                          <a:gd name="T65" fmla="*/ 0 h 401"/>
                          <a:gd name="T66" fmla="*/ 0 w 371"/>
                          <a:gd name="T67" fmla="*/ 0 h 401"/>
                          <a:gd name="T68" fmla="*/ 0 w 371"/>
                          <a:gd name="T69" fmla="*/ 0 h 401"/>
                          <a:gd name="T70" fmla="*/ 0 w 371"/>
                          <a:gd name="T71" fmla="*/ 0 h 401"/>
                          <a:gd name="T72" fmla="*/ 0 w 371"/>
                          <a:gd name="T73" fmla="*/ 0 h 401"/>
                          <a:gd name="T74" fmla="*/ 0 w 371"/>
                          <a:gd name="T75" fmla="*/ 0 h 401"/>
                          <a:gd name="T76" fmla="*/ 0 w 371"/>
                          <a:gd name="T77" fmla="*/ 0 h 401"/>
                          <a:gd name="T78" fmla="*/ 0 w 371"/>
                          <a:gd name="T79" fmla="*/ 0 h 401"/>
                          <a:gd name="T80" fmla="*/ 0 w 371"/>
                          <a:gd name="T81" fmla="*/ 0 h 401"/>
                          <a:gd name="T82" fmla="*/ 0 w 371"/>
                          <a:gd name="T83" fmla="*/ 0 h 401"/>
                          <a:gd name="T84" fmla="*/ 0 w 371"/>
                          <a:gd name="T85" fmla="*/ 0 h 401"/>
                          <a:gd name="T86" fmla="*/ 0 w 371"/>
                          <a:gd name="T87" fmla="*/ 0 h 401"/>
                          <a:gd name="T88" fmla="*/ 0 60000 65536"/>
                          <a:gd name="T89" fmla="*/ 0 60000 65536"/>
                          <a:gd name="T90" fmla="*/ 0 60000 65536"/>
                          <a:gd name="T91" fmla="*/ 0 60000 65536"/>
                          <a:gd name="T92" fmla="*/ 0 60000 65536"/>
                          <a:gd name="T93" fmla="*/ 0 60000 65536"/>
                          <a:gd name="T94" fmla="*/ 0 60000 65536"/>
                          <a:gd name="T95" fmla="*/ 0 60000 65536"/>
                          <a:gd name="T96" fmla="*/ 0 60000 65536"/>
                          <a:gd name="T97" fmla="*/ 0 60000 65536"/>
                          <a:gd name="T98" fmla="*/ 0 60000 65536"/>
                          <a:gd name="T99" fmla="*/ 0 60000 65536"/>
                          <a:gd name="T100" fmla="*/ 0 60000 65536"/>
                          <a:gd name="T101" fmla="*/ 0 60000 65536"/>
                          <a:gd name="T102" fmla="*/ 0 60000 65536"/>
                          <a:gd name="T103" fmla="*/ 0 60000 65536"/>
                          <a:gd name="T104" fmla="*/ 0 60000 65536"/>
                          <a:gd name="T105" fmla="*/ 0 60000 65536"/>
                          <a:gd name="T106" fmla="*/ 0 60000 65536"/>
                          <a:gd name="T107" fmla="*/ 0 60000 65536"/>
                          <a:gd name="T108" fmla="*/ 0 60000 65536"/>
                          <a:gd name="T109" fmla="*/ 0 60000 65536"/>
                          <a:gd name="T110" fmla="*/ 0 60000 65536"/>
                          <a:gd name="T111" fmla="*/ 0 60000 65536"/>
                          <a:gd name="T112" fmla="*/ 0 60000 65536"/>
                          <a:gd name="T113" fmla="*/ 0 60000 65536"/>
                          <a:gd name="T114" fmla="*/ 0 60000 65536"/>
                          <a:gd name="T115" fmla="*/ 0 60000 65536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w 371"/>
                          <a:gd name="T133" fmla="*/ 0 h 401"/>
                          <a:gd name="T134" fmla="*/ 371 w 371"/>
                          <a:gd name="T135" fmla="*/ 401 h 401"/>
                        </a:gdLst>
                        <a:ahLst/>
                        <a:cxnLst>
                          <a:cxn ang="T88">
                            <a:pos x="T0" y="T1"/>
                          </a:cxn>
                          <a:cxn ang="T89">
                            <a:pos x="T2" y="T3"/>
                          </a:cxn>
                          <a:cxn ang="T90">
                            <a:pos x="T4" y="T5"/>
                          </a:cxn>
                          <a:cxn ang="T91">
                            <a:pos x="T6" y="T7"/>
                          </a:cxn>
                          <a:cxn ang="T92">
                            <a:pos x="T8" y="T9"/>
                          </a:cxn>
                          <a:cxn ang="T93">
                            <a:pos x="T10" y="T11"/>
                          </a:cxn>
                          <a:cxn ang="T94">
                            <a:pos x="T12" y="T13"/>
                          </a:cxn>
                          <a:cxn ang="T95">
                            <a:pos x="T14" y="T15"/>
                          </a:cxn>
                          <a:cxn ang="T96">
                            <a:pos x="T16" y="T17"/>
                          </a:cxn>
                          <a:cxn ang="T97">
                            <a:pos x="T18" y="T19"/>
                          </a:cxn>
                          <a:cxn ang="T98">
                            <a:pos x="T20" y="T21"/>
                          </a:cxn>
                          <a:cxn ang="T99">
                            <a:pos x="T22" y="T23"/>
                          </a:cxn>
                          <a:cxn ang="T100">
                            <a:pos x="T24" y="T25"/>
                          </a:cxn>
                          <a:cxn ang="T101">
                            <a:pos x="T26" y="T27"/>
                          </a:cxn>
                          <a:cxn ang="T102">
                            <a:pos x="T28" y="T29"/>
                          </a:cxn>
                          <a:cxn ang="T103">
                            <a:pos x="T30" y="T31"/>
                          </a:cxn>
                          <a:cxn ang="T104">
                            <a:pos x="T32" y="T33"/>
                          </a:cxn>
                          <a:cxn ang="T105">
                            <a:pos x="T34" y="T35"/>
                          </a:cxn>
                          <a:cxn ang="T106">
                            <a:pos x="T36" y="T37"/>
                          </a:cxn>
                          <a:cxn ang="T107">
                            <a:pos x="T38" y="T39"/>
                          </a:cxn>
                          <a:cxn ang="T108">
                            <a:pos x="T40" y="T41"/>
                          </a:cxn>
                          <a:cxn ang="T109">
                            <a:pos x="T42" y="T43"/>
                          </a:cxn>
                          <a:cxn ang="T110">
                            <a:pos x="T44" y="T45"/>
                          </a:cxn>
                          <a:cxn ang="T111">
                            <a:pos x="T46" y="T47"/>
                          </a:cxn>
                          <a:cxn ang="T112">
                            <a:pos x="T48" y="T49"/>
                          </a:cxn>
                          <a:cxn ang="T113">
                            <a:pos x="T50" y="T51"/>
                          </a:cxn>
                          <a:cxn ang="T114">
                            <a:pos x="T52" y="T53"/>
                          </a:cxn>
                          <a:cxn ang="T115">
                            <a:pos x="T54" y="T55"/>
                          </a:cxn>
                          <a:cxn ang="T116">
                            <a:pos x="T56" y="T57"/>
                          </a:cxn>
                          <a:cxn ang="T117">
                            <a:pos x="T58" y="T59"/>
                          </a:cxn>
                          <a:cxn ang="T118">
                            <a:pos x="T60" y="T61"/>
                          </a:cxn>
                          <a:cxn ang="T119">
                            <a:pos x="T62" y="T63"/>
                          </a:cxn>
                          <a:cxn ang="T120">
                            <a:pos x="T64" y="T65"/>
                          </a:cxn>
                          <a:cxn ang="T121">
                            <a:pos x="T66" y="T67"/>
                          </a:cxn>
                          <a:cxn ang="T122">
                            <a:pos x="T68" y="T69"/>
                          </a:cxn>
                          <a:cxn ang="T123">
                            <a:pos x="T70" y="T71"/>
                          </a:cxn>
                          <a:cxn ang="T124">
                            <a:pos x="T72" y="T73"/>
                          </a:cxn>
                          <a:cxn ang="T125">
                            <a:pos x="T74" y="T75"/>
                          </a:cxn>
                          <a:cxn ang="T126">
                            <a:pos x="T76" y="T77"/>
                          </a:cxn>
                          <a:cxn ang="T127">
                            <a:pos x="T78" y="T79"/>
                          </a:cxn>
                          <a:cxn ang="T128">
                            <a:pos x="T80" y="T81"/>
                          </a:cxn>
                          <a:cxn ang="T129">
                            <a:pos x="T82" y="T83"/>
                          </a:cxn>
                          <a:cxn ang="T130">
                            <a:pos x="T84" y="T85"/>
                          </a:cxn>
                          <a:cxn ang="T131">
                            <a:pos x="T86" y="T87"/>
                          </a:cxn>
                        </a:cxnLst>
                        <a:rect l="T132" t="T133" r="T134" b="T135"/>
                        <a:pathLst>
                          <a:path w="371" h="401">
                            <a:moveTo>
                              <a:pt x="200" y="0"/>
                            </a:moveTo>
                            <a:lnTo>
                              <a:pt x="157" y="21"/>
                            </a:lnTo>
                            <a:lnTo>
                              <a:pt x="141" y="39"/>
                            </a:lnTo>
                            <a:lnTo>
                              <a:pt x="139" y="86"/>
                            </a:lnTo>
                            <a:lnTo>
                              <a:pt x="109" y="74"/>
                            </a:lnTo>
                            <a:lnTo>
                              <a:pt x="85" y="80"/>
                            </a:lnTo>
                            <a:lnTo>
                              <a:pt x="35" y="106"/>
                            </a:lnTo>
                            <a:lnTo>
                              <a:pt x="54" y="126"/>
                            </a:lnTo>
                            <a:lnTo>
                              <a:pt x="16" y="126"/>
                            </a:lnTo>
                            <a:lnTo>
                              <a:pt x="7" y="143"/>
                            </a:lnTo>
                            <a:lnTo>
                              <a:pt x="0" y="157"/>
                            </a:lnTo>
                            <a:lnTo>
                              <a:pt x="36" y="165"/>
                            </a:lnTo>
                            <a:lnTo>
                              <a:pt x="21" y="180"/>
                            </a:lnTo>
                            <a:lnTo>
                              <a:pt x="59" y="212"/>
                            </a:lnTo>
                            <a:lnTo>
                              <a:pt x="94" y="197"/>
                            </a:lnTo>
                            <a:lnTo>
                              <a:pt x="119" y="194"/>
                            </a:lnTo>
                            <a:lnTo>
                              <a:pt x="154" y="200"/>
                            </a:lnTo>
                            <a:lnTo>
                              <a:pt x="180" y="219"/>
                            </a:lnTo>
                            <a:lnTo>
                              <a:pt x="197" y="242"/>
                            </a:lnTo>
                            <a:lnTo>
                              <a:pt x="204" y="271"/>
                            </a:lnTo>
                            <a:lnTo>
                              <a:pt x="198" y="301"/>
                            </a:lnTo>
                            <a:lnTo>
                              <a:pt x="186" y="327"/>
                            </a:lnTo>
                            <a:lnTo>
                              <a:pt x="159" y="350"/>
                            </a:lnTo>
                            <a:lnTo>
                              <a:pt x="129" y="353"/>
                            </a:lnTo>
                            <a:lnTo>
                              <a:pt x="127" y="369"/>
                            </a:lnTo>
                            <a:lnTo>
                              <a:pt x="133" y="401"/>
                            </a:lnTo>
                            <a:lnTo>
                              <a:pt x="165" y="395"/>
                            </a:lnTo>
                            <a:lnTo>
                              <a:pt x="186" y="389"/>
                            </a:lnTo>
                            <a:lnTo>
                              <a:pt x="203" y="358"/>
                            </a:lnTo>
                            <a:lnTo>
                              <a:pt x="220" y="364"/>
                            </a:lnTo>
                            <a:lnTo>
                              <a:pt x="250" y="352"/>
                            </a:lnTo>
                            <a:lnTo>
                              <a:pt x="264" y="318"/>
                            </a:lnTo>
                            <a:lnTo>
                              <a:pt x="289" y="319"/>
                            </a:lnTo>
                            <a:lnTo>
                              <a:pt x="306" y="296"/>
                            </a:lnTo>
                            <a:lnTo>
                              <a:pt x="312" y="270"/>
                            </a:lnTo>
                            <a:lnTo>
                              <a:pt x="319" y="220"/>
                            </a:lnTo>
                            <a:lnTo>
                              <a:pt x="371" y="166"/>
                            </a:lnTo>
                            <a:lnTo>
                              <a:pt x="365" y="116"/>
                            </a:lnTo>
                            <a:lnTo>
                              <a:pt x="319" y="106"/>
                            </a:lnTo>
                            <a:lnTo>
                              <a:pt x="318" y="62"/>
                            </a:lnTo>
                            <a:lnTo>
                              <a:pt x="280" y="62"/>
                            </a:lnTo>
                            <a:lnTo>
                              <a:pt x="277" y="18"/>
                            </a:lnTo>
                            <a:lnTo>
                              <a:pt x="238" y="18"/>
                            </a:lnTo>
                            <a:lnTo>
                              <a:pt x="200" y="0"/>
                            </a:lnTo>
                            <a:close/>
                          </a:path>
                        </a:pathLst>
                      </a:custGeom>
                      <a:solidFill>
                        <a:srgbClr val="804000"/>
                      </a:solidFill>
                      <a:ln w="1588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id-ID"/>
                      </a:p>
                    </p:txBody>
                  </p:sp>
                  <p:grpSp>
                    <p:nvGrpSpPr>
                      <p:cNvPr id="161" name="Group 1667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800" y="1346"/>
                        <a:ext cx="17" cy="11"/>
                        <a:chOff x="800" y="1346"/>
                        <a:chExt cx="17" cy="11"/>
                      </a:xfrm>
                    </p:grpSpPr>
                    <p:sp>
                      <p:nvSpPr>
                        <p:cNvPr id="163" name="Freeform 1668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800" y="1354"/>
                          <a:ext cx="5" cy="2"/>
                        </a:xfrm>
                        <a:custGeom>
                          <a:avLst/>
                          <a:gdLst>
                            <a:gd name="T0" fmla="*/ 0 w 75"/>
                            <a:gd name="T1" fmla="*/ 0 h 31"/>
                            <a:gd name="T2" fmla="*/ 0 w 75"/>
                            <a:gd name="T3" fmla="*/ 0 h 31"/>
                            <a:gd name="T4" fmla="*/ 0 w 75"/>
                            <a:gd name="T5" fmla="*/ 0 h 31"/>
                            <a:gd name="T6" fmla="*/ 0 w 75"/>
                            <a:gd name="T7" fmla="*/ 0 h 31"/>
                            <a:gd name="T8" fmla="*/ 0 w 75"/>
                            <a:gd name="T9" fmla="*/ 0 h 31"/>
                            <a:gd name="T10" fmla="*/ 0 w 75"/>
                            <a:gd name="T11" fmla="*/ 0 h 31"/>
                            <a:gd name="T12" fmla="*/ 0 w 75"/>
                            <a:gd name="T13" fmla="*/ 0 h 31"/>
                            <a:gd name="T14" fmla="*/ 0 60000 65536"/>
                            <a:gd name="T15" fmla="*/ 0 60000 65536"/>
                            <a:gd name="T16" fmla="*/ 0 60000 65536"/>
                            <a:gd name="T17" fmla="*/ 0 60000 65536"/>
                            <a:gd name="T18" fmla="*/ 0 60000 65536"/>
                            <a:gd name="T19" fmla="*/ 0 60000 65536"/>
                            <a:gd name="T20" fmla="*/ 0 60000 65536"/>
                            <a:gd name="T21" fmla="*/ 0 w 75"/>
                            <a:gd name="T22" fmla="*/ 0 h 31"/>
                            <a:gd name="T23" fmla="*/ 75 w 75"/>
                            <a:gd name="T24" fmla="*/ 31 h 31"/>
                          </a:gdLst>
                          <a:ahLst/>
                          <a:cxnLst>
                            <a:cxn ang="T14">
                              <a:pos x="T0" y="T1"/>
                            </a:cxn>
                            <a:cxn ang="T15">
                              <a:pos x="T2" y="T3"/>
                            </a:cxn>
                            <a:cxn ang="T16">
                              <a:pos x="T4" y="T5"/>
                            </a:cxn>
                            <a:cxn ang="T17">
                              <a:pos x="T6" y="T7"/>
                            </a:cxn>
                            <a:cxn ang="T18">
                              <a:pos x="T8" y="T9"/>
                            </a:cxn>
                            <a:cxn ang="T19">
                              <a:pos x="T10" y="T11"/>
                            </a:cxn>
                            <a:cxn ang="T20">
                              <a:pos x="T12" y="T13"/>
                            </a:cxn>
                          </a:cxnLst>
                          <a:rect l="T21" t="T22" r="T23" b="T24"/>
                          <a:pathLst>
                            <a:path w="75" h="31">
                              <a:moveTo>
                                <a:pt x="75" y="0"/>
                              </a:moveTo>
                              <a:lnTo>
                                <a:pt x="72" y="16"/>
                              </a:lnTo>
                              <a:lnTo>
                                <a:pt x="61" y="28"/>
                              </a:lnTo>
                              <a:lnTo>
                                <a:pt x="48" y="31"/>
                              </a:lnTo>
                              <a:lnTo>
                                <a:pt x="35" y="28"/>
                              </a:lnTo>
                              <a:lnTo>
                                <a:pt x="19" y="23"/>
                              </a:lnTo>
                              <a:lnTo>
                                <a:pt x="0" y="11"/>
                              </a:lnTo>
                            </a:path>
                          </a:pathLst>
                        </a:custGeom>
                        <a:noFill/>
                        <a:ln w="1588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endParaRPr lang="id-ID"/>
                        </a:p>
                      </p:txBody>
                    </p:sp>
                    <p:sp>
                      <p:nvSpPr>
                        <p:cNvPr id="164" name="Freeform 1669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808" y="1354"/>
                          <a:ext cx="5" cy="3"/>
                        </a:xfrm>
                        <a:custGeom>
                          <a:avLst/>
                          <a:gdLst>
                            <a:gd name="T0" fmla="*/ 0 w 67"/>
                            <a:gd name="T1" fmla="*/ 0 h 41"/>
                            <a:gd name="T2" fmla="*/ 0 w 67"/>
                            <a:gd name="T3" fmla="*/ 0 h 41"/>
                            <a:gd name="T4" fmla="*/ 0 w 67"/>
                            <a:gd name="T5" fmla="*/ 0 h 41"/>
                            <a:gd name="T6" fmla="*/ 0 60000 65536"/>
                            <a:gd name="T7" fmla="*/ 0 60000 65536"/>
                            <a:gd name="T8" fmla="*/ 0 60000 65536"/>
                            <a:gd name="T9" fmla="*/ 0 w 67"/>
                            <a:gd name="T10" fmla="*/ 0 h 41"/>
                            <a:gd name="T11" fmla="*/ 67 w 67"/>
                            <a:gd name="T12" fmla="*/ 41 h 41"/>
                          </a:gdLst>
                          <a:ahLst/>
                          <a:cxnLst>
                            <a:cxn ang="T6">
                              <a:pos x="T0" y="T1"/>
                            </a:cxn>
                            <a:cxn ang="T7">
                              <a:pos x="T2" y="T3"/>
                            </a:cxn>
                            <a:cxn ang="T8">
                              <a:pos x="T4" y="T5"/>
                            </a:cxn>
                          </a:cxnLst>
                          <a:rect l="T9" t="T10" r="T11" b="T12"/>
                          <a:pathLst>
                            <a:path w="67" h="41">
                              <a:moveTo>
                                <a:pt x="67" y="41"/>
                              </a:moveTo>
                              <a:lnTo>
                                <a:pt x="0" y="0"/>
                              </a:lnTo>
                              <a:lnTo>
                                <a:pt x="30" y="41"/>
                              </a:lnTo>
                            </a:path>
                          </a:pathLst>
                        </a:custGeom>
                        <a:noFill/>
                        <a:ln w="1588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endParaRPr lang="id-ID"/>
                        </a:p>
                      </p:txBody>
                    </p:sp>
                    <p:sp>
                      <p:nvSpPr>
                        <p:cNvPr id="165" name="Freeform 1670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814" y="1346"/>
                          <a:ext cx="3" cy="6"/>
                        </a:xfrm>
                        <a:custGeom>
                          <a:avLst/>
                          <a:gdLst>
                            <a:gd name="T0" fmla="*/ 0 w 40"/>
                            <a:gd name="T1" fmla="*/ 0 h 78"/>
                            <a:gd name="T2" fmla="*/ 0 w 40"/>
                            <a:gd name="T3" fmla="*/ 0 h 78"/>
                            <a:gd name="T4" fmla="*/ 0 w 40"/>
                            <a:gd name="T5" fmla="*/ 0 h 78"/>
                            <a:gd name="T6" fmla="*/ 0 w 40"/>
                            <a:gd name="T7" fmla="*/ 0 h 78"/>
                            <a:gd name="T8" fmla="*/ 0 w 40"/>
                            <a:gd name="T9" fmla="*/ 0 h 78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40"/>
                            <a:gd name="T16" fmla="*/ 0 h 78"/>
                            <a:gd name="T17" fmla="*/ 40 w 40"/>
                            <a:gd name="T18" fmla="*/ 78 h 78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40" h="78">
                              <a:moveTo>
                                <a:pt x="37" y="78"/>
                              </a:moveTo>
                              <a:lnTo>
                                <a:pt x="40" y="49"/>
                              </a:lnTo>
                              <a:lnTo>
                                <a:pt x="28" y="15"/>
                              </a:lnTo>
                              <a:lnTo>
                                <a:pt x="11" y="3"/>
                              </a:lnTo>
                              <a:lnTo>
                                <a:pt x="0" y="0"/>
                              </a:lnTo>
                            </a:path>
                          </a:pathLst>
                        </a:custGeom>
                        <a:noFill/>
                        <a:ln w="1588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endParaRPr lang="id-ID"/>
                        </a:p>
                      </p:txBody>
                    </p:sp>
                  </p:grpSp>
                  <p:sp>
                    <p:nvSpPr>
                      <p:cNvPr id="162" name="Freeform 167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818" y="1371"/>
                        <a:ext cx="5" cy="4"/>
                      </a:xfrm>
                      <a:custGeom>
                        <a:avLst/>
                        <a:gdLst>
                          <a:gd name="T0" fmla="*/ 0 w 73"/>
                          <a:gd name="T1" fmla="*/ 0 h 61"/>
                          <a:gd name="T2" fmla="*/ 0 w 73"/>
                          <a:gd name="T3" fmla="*/ 0 h 61"/>
                          <a:gd name="T4" fmla="*/ 0 w 73"/>
                          <a:gd name="T5" fmla="*/ 0 h 61"/>
                          <a:gd name="T6" fmla="*/ 0 w 73"/>
                          <a:gd name="T7" fmla="*/ 0 h 61"/>
                          <a:gd name="T8" fmla="*/ 0 w 73"/>
                          <a:gd name="T9" fmla="*/ 0 h 61"/>
                          <a:gd name="T10" fmla="*/ 0 w 73"/>
                          <a:gd name="T11" fmla="*/ 0 h 61"/>
                          <a:gd name="T12" fmla="*/ 0 w 73"/>
                          <a:gd name="T13" fmla="*/ 0 h 61"/>
                          <a:gd name="T14" fmla="*/ 0 w 73"/>
                          <a:gd name="T15" fmla="*/ 0 h 61"/>
                          <a:gd name="T16" fmla="*/ 0 w 73"/>
                          <a:gd name="T17" fmla="*/ 0 h 61"/>
                          <a:gd name="T18" fmla="*/ 0 w 73"/>
                          <a:gd name="T19" fmla="*/ 0 h 61"/>
                          <a:gd name="T20" fmla="*/ 0 w 73"/>
                          <a:gd name="T21" fmla="*/ 0 h 61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60000 65536"/>
                          <a:gd name="T28" fmla="*/ 0 60000 65536"/>
                          <a:gd name="T29" fmla="*/ 0 60000 65536"/>
                          <a:gd name="T30" fmla="*/ 0 60000 65536"/>
                          <a:gd name="T31" fmla="*/ 0 60000 65536"/>
                          <a:gd name="T32" fmla="*/ 0 60000 65536"/>
                          <a:gd name="T33" fmla="*/ 0 w 73"/>
                          <a:gd name="T34" fmla="*/ 0 h 61"/>
                          <a:gd name="T35" fmla="*/ 73 w 73"/>
                          <a:gd name="T36" fmla="*/ 61 h 61"/>
                        </a:gdLst>
                        <a:ahLst/>
                        <a:cxnLst>
                          <a:cxn ang="T22">
                            <a:pos x="T0" y="T1"/>
                          </a:cxn>
                          <a:cxn ang="T23">
                            <a:pos x="T2" y="T3"/>
                          </a:cxn>
                          <a:cxn ang="T24">
                            <a:pos x="T4" y="T5"/>
                          </a:cxn>
                          <a:cxn ang="T25">
                            <a:pos x="T6" y="T7"/>
                          </a:cxn>
                          <a:cxn ang="T26">
                            <a:pos x="T8" y="T9"/>
                          </a:cxn>
                          <a:cxn ang="T27">
                            <a:pos x="T10" y="T11"/>
                          </a:cxn>
                          <a:cxn ang="T28">
                            <a:pos x="T12" y="T13"/>
                          </a:cxn>
                          <a:cxn ang="T29">
                            <a:pos x="T14" y="T15"/>
                          </a:cxn>
                          <a:cxn ang="T30">
                            <a:pos x="T16" y="T17"/>
                          </a:cxn>
                          <a:cxn ang="T31">
                            <a:pos x="T18" y="T19"/>
                          </a:cxn>
                          <a:cxn ang="T32">
                            <a:pos x="T20" y="T21"/>
                          </a:cxn>
                        </a:cxnLst>
                        <a:rect l="T33" t="T34" r="T35" b="T36"/>
                        <a:pathLst>
                          <a:path w="73" h="61">
                            <a:moveTo>
                              <a:pt x="24" y="0"/>
                            </a:moveTo>
                            <a:lnTo>
                              <a:pt x="53" y="0"/>
                            </a:lnTo>
                            <a:lnTo>
                              <a:pt x="73" y="23"/>
                            </a:lnTo>
                            <a:lnTo>
                              <a:pt x="71" y="49"/>
                            </a:lnTo>
                            <a:lnTo>
                              <a:pt x="55" y="61"/>
                            </a:lnTo>
                            <a:lnTo>
                              <a:pt x="37" y="61"/>
                            </a:lnTo>
                            <a:lnTo>
                              <a:pt x="15" y="61"/>
                            </a:lnTo>
                            <a:lnTo>
                              <a:pt x="3" y="54"/>
                            </a:lnTo>
                            <a:lnTo>
                              <a:pt x="0" y="38"/>
                            </a:lnTo>
                            <a:lnTo>
                              <a:pt x="9" y="28"/>
                            </a:lnTo>
                            <a:lnTo>
                              <a:pt x="24" y="32"/>
                            </a:lnTo>
                          </a:path>
                        </a:pathLst>
                      </a:custGeom>
                      <a:noFill/>
                      <a:ln w="1588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id-ID"/>
                      </a:p>
                    </p:txBody>
                  </p:sp>
                </p:grpSp>
                <p:grpSp>
                  <p:nvGrpSpPr>
                    <p:cNvPr id="149" name="Group 167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809" y="1339"/>
                      <a:ext cx="39" cy="37"/>
                      <a:chOff x="809" y="1339"/>
                      <a:chExt cx="39" cy="37"/>
                    </a:xfrm>
                  </p:grpSpPr>
                  <p:grpSp>
                    <p:nvGrpSpPr>
                      <p:cNvPr id="150" name="Group 1673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818" y="1340"/>
                        <a:ext cx="30" cy="36"/>
                        <a:chOff x="818" y="1340"/>
                        <a:chExt cx="30" cy="36"/>
                      </a:xfrm>
                    </p:grpSpPr>
                    <p:sp>
                      <p:nvSpPr>
                        <p:cNvPr id="154" name="Arc 1674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818" y="1340"/>
                          <a:ext cx="30" cy="36"/>
                        </a:xfrm>
                        <a:custGeom>
                          <a:avLst/>
                          <a:gdLst>
                            <a:gd name="T0" fmla="*/ 0 w 30730"/>
                            <a:gd name="T1" fmla="*/ 0 h 41905"/>
                            <a:gd name="T2" fmla="*/ 0 w 30730"/>
                            <a:gd name="T3" fmla="*/ 0 h 41905"/>
                            <a:gd name="T4" fmla="*/ 0 w 30730"/>
                            <a:gd name="T5" fmla="*/ 0 h 41905"/>
                            <a:gd name="T6" fmla="*/ 0 60000 65536"/>
                            <a:gd name="T7" fmla="*/ 0 60000 65536"/>
                            <a:gd name="T8" fmla="*/ 0 60000 65536"/>
                            <a:gd name="T9" fmla="*/ 0 w 30730"/>
                            <a:gd name="T10" fmla="*/ 0 h 41905"/>
                            <a:gd name="T11" fmla="*/ 30730 w 30730"/>
                            <a:gd name="T12" fmla="*/ 41905 h 41905"/>
                          </a:gdLst>
                          <a:ahLst/>
                          <a:cxnLst>
                            <a:cxn ang="T6">
                              <a:pos x="T0" y="T1"/>
                            </a:cxn>
                            <a:cxn ang="T7">
                              <a:pos x="T2" y="T3"/>
                            </a:cxn>
                            <a:cxn ang="T8">
                              <a:pos x="T4" y="T5"/>
                            </a:cxn>
                          </a:cxnLst>
                          <a:rect l="T9" t="T10" r="T11" b="T12"/>
                          <a:pathLst>
                            <a:path w="30730" h="41905" fill="none" extrusionOk="0">
                              <a:moveTo>
                                <a:pt x="0" y="2024"/>
                              </a:moveTo>
                              <a:cubicBezTo>
                                <a:pt x="2859" y="690"/>
                                <a:pt x="5975" y="-1"/>
                                <a:pt x="9130" y="0"/>
                              </a:cubicBezTo>
                              <a:cubicBezTo>
                                <a:pt x="21059" y="0"/>
                                <a:pt x="30730" y="9670"/>
                                <a:pt x="30730" y="21600"/>
                              </a:cubicBezTo>
                              <a:cubicBezTo>
                                <a:pt x="30730" y="30689"/>
                                <a:pt x="25040" y="38805"/>
                                <a:pt x="16496" y="41905"/>
                              </a:cubicBezTo>
                            </a:path>
                            <a:path w="30730" h="41905" stroke="0" extrusionOk="0">
                              <a:moveTo>
                                <a:pt x="0" y="2024"/>
                              </a:moveTo>
                              <a:cubicBezTo>
                                <a:pt x="2859" y="690"/>
                                <a:pt x="5975" y="-1"/>
                                <a:pt x="9130" y="0"/>
                              </a:cubicBezTo>
                              <a:cubicBezTo>
                                <a:pt x="21059" y="0"/>
                                <a:pt x="30730" y="9670"/>
                                <a:pt x="30730" y="21600"/>
                              </a:cubicBezTo>
                              <a:cubicBezTo>
                                <a:pt x="30730" y="30689"/>
                                <a:pt x="25040" y="38805"/>
                                <a:pt x="16496" y="41905"/>
                              </a:cubicBezTo>
                              <a:lnTo>
                                <a:pt x="9130" y="21600"/>
                              </a:lnTo>
                              <a:lnTo>
                                <a:pt x="0" y="2024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FF00"/>
                        </a:solidFill>
                        <a:ln w="9525">
                          <a:noFill/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endParaRPr lang="id-ID"/>
                        </a:p>
                      </p:txBody>
                    </p:sp>
                    <p:sp>
                      <p:nvSpPr>
                        <p:cNvPr id="155" name="Arc 1675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818" y="1340"/>
                          <a:ext cx="30" cy="36"/>
                        </a:xfrm>
                        <a:custGeom>
                          <a:avLst/>
                          <a:gdLst>
                            <a:gd name="T0" fmla="*/ 0 w 30730"/>
                            <a:gd name="T1" fmla="*/ 0 h 41905"/>
                            <a:gd name="T2" fmla="*/ 0 w 30730"/>
                            <a:gd name="T3" fmla="*/ 0 h 41905"/>
                            <a:gd name="T4" fmla="*/ 0 w 30730"/>
                            <a:gd name="T5" fmla="*/ 0 h 41905"/>
                            <a:gd name="T6" fmla="*/ 0 60000 65536"/>
                            <a:gd name="T7" fmla="*/ 0 60000 65536"/>
                            <a:gd name="T8" fmla="*/ 0 60000 65536"/>
                            <a:gd name="T9" fmla="*/ 0 w 30730"/>
                            <a:gd name="T10" fmla="*/ 0 h 41905"/>
                            <a:gd name="T11" fmla="*/ 30730 w 30730"/>
                            <a:gd name="T12" fmla="*/ 41905 h 41905"/>
                          </a:gdLst>
                          <a:ahLst/>
                          <a:cxnLst>
                            <a:cxn ang="T6">
                              <a:pos x="T0" y="T1"/>
                            </a:cxn>
                            <a:cxn ang="T7">
                              <a:pos x="T2" y="T3"/>
                            </a:cxn>
                            <a:cxn ang="T8">
                              <a:pos x="T4" y="T5"/>
                            </a:cxn>
                          </a:cxnLst>
                          <a:rect l="T9" t="T10" r="T11" b="T12"/>
                          <a:pathLst>
                            <a:path w="30730" h="41905" fill="none" extrusionOk="0">
                              <a:moveTo>
                                <a:pt x="0" y="2024"/>
                              </a:moveTo>
                              <a:cubicBezTo>
                                <a:pt x="2859" y="690"/>
                                <a:pt x="5975" y="-1"/>
                                <a:pt x="9130" y="0"/>
                              </a:cubicBezTo>
                              <a:cubicBezTo>
                                <a:pt x="21059" y="0"/>
                                <a:pt x="30730" y="9670"/>
                                <a:pt x="30730" y="21600"/>
                              </a:cubicBezTo>
                              <a:cubicBezTo>
                                <a:pt x="30730" y="30689"/>
                                <a:pt x="25040" y="38805"/>
                                <a:pt x="16496" y="41905"/>
                              </a:cubicBezTo>
                            </a:path>
                            <a:path w="30730" h="41905" stroke="0" extrusionOk="0">
                              <a:moveTo>
                                <a:pt x="0" y="2024"/>
                              </a:moveTo>
                              <a:cubicBezTo>
                                <a:pt x="2859" y="690"/>
                                <a:pt x="5975" y="-1"/>
                                <a:pt x="9130" y="0"/>
                              </a:cubicBezTo>
                              <a:cubicBezTo>
                                <a:pt x="21059" y="0"/>
                                <a:pt x="30730" y="9670"/>
                                <a:pt x="30730" y="21600"/>
                              </a:cubicBezTo>
                              <a:cubicBezTo>
                                <a:pt x="30730" y="30689"/>
                                <a:pt x="25040" y="38805"/>
                                <a:pt x="16496" y="41905"/>
                              </a:cubicBezTo>
                              <a:lnTo>
                                <a:pt x="9130" y="21600"/>
                              </a:lnTo>
                              <a:lnTo>
                                <a:pt x="0" y="2024"/>
                              </a:lnTo>
                              <a:close/>
                            </a:path>
                          </a:pathLst>
                        </a:custGeom>
                        <a:noFill/>
                        <a:ln w="1588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endParaRPr lang="id-ID"/>
                        </a:p>
                      </p:txBody>
                    </p:sp>
                    <p:sp>
                      <p:nvSpPr>
                        <p:cNvPr id="156" name="Line 1676"/>
                        <p:cNvSpPr>
                          <a:spLocks noChangeShapeType="1"/>
                        </p:cNvSpPr>
                        <p:nvPr/>
                      </p:nvSpPr>
                      <p:spPr bwMode="auto">
                        <a:xfrm flipH="1" flipV="1">
                          <a:off x="818" y="1342"/>
                          <a:ext cx="9" cy="17"/>
                        </a:xfrm>
                        <a:prstGeom prst="line">
                          <a:avLst/>
                        </a:prstGeom>
                        <a:noFill/>
                        <a:ln w="1588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endParaRPr lang="id-ID"/>
                        </a:p>
                      </p:txBody>
                    </p:sp>
                    <p:sp>
                      <p:nvSpPr>
                        <p:cNvPr id="157" name="Line 1677"/>
                        <p:cNvSpPr>
                          <a:spLocks noChangeShapeType="1"/>
                        </p:cNvSpPr>
                        <p:nvPr/>
                      </p:nvSpPr>
                      <p:spPr bwMode="auto">
                        <a:xfrm>
                          <a:off x="827" y="1359"/>
                          <a:ext cx="7" cy="17"/>
                        </a:xfrm>
                        <a:prstGeom prst="line">
                          <a:avLst/>
                        </a:prstGeom>
                        <a:noFill/>
                        <a:ln w="1588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endParaRPr lang="id-ID"/>
                        </a:p>
                      </p:txBody>
                    </p:sp>
                  </p:grpSp>
                  <p:sp>
                    <p:nvSpPr>
                      <p:cNvPr id="151" name="Freeform 167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809" y="1339"/>
                        <a:ext cx="16" cy="17"/>
                      </a:xfrm>
                      <a:custGeom>
                        <a:avLst/>
                        <a:gdLst>
                          <a:gd name="T0" fmla="*/ 0 w 226"/>
                          <a:gd name="T1" fmla="*/ 0 h 218"/>
                          <a:gd name="T2" fmla="*/ 0 w 226"/>
                          <a:gd name="T3" fmla="*/ 0 h 218"/>
                          <a:gd name="T4" fmla="*/ 0 w 226"/>
                          <a:gd name="T5" fmla="*/ 0 h 218"/>
                          <a:gd name="T6" fmla="*/ 0 w 226"/>
                          <a:gd name="T7" fmla="*/ 0 h 218"/>
                          <a:gd name="T8" fmla="*/ 0 w 226"/>
                          <a:gd name="T9" fmla="*/ 0 h 218"/>
                          <a:gd name="T10" fmla="*/ 0 w 226"/>
                          <a:gd name="T11" fmla="*/ 0 h 218"/>
                          <a:gd name="T12" fmla="*/ 0 w 226"/>
                          <a:gd name="T13" fmla="*/ 0 h 218"/>
                          <a:gd name="T14" fmla="*/ 0 w 226"/>
                          <a:gd name="T15" fmla="*/ 0 h 218"/>
                          <a:gd name="T16" fmla="*/ 0 w 226"/>
                          <a:gd name="T17" fmla="*/ 0 h 218"/>
                          <a:gd name="T18" fmla="*/ 0 w 226"/>
                          <a:gd name="T19" fmla="*/ 0 h 218"/>
                          <a:gd name="T20" fmla="*/ 0 w 226"/>
                          <a:gd name="T21" fmla="*/ 0 h 218"/>
                          <a:gd name="T22" fmla="*/ 0 w 226"/>
                          <a:gd name="T23" fmla="*/ 0 h 218"/>
                          <a:gd name="T24" fmla="*/ 0 w 226"/>
                          <a:gd name="T25" fmla="*/ 0 h 218"/>
                          <a:gd name="T26" fmla="*/ 0 60000 65536"/>
                          <a:gd name="T27" fmla="*/ 0 60000 65536"/>
                          <a:gd name="T28" fmla="*/ 0 60000 65536"/>
                          <a:gd name="T29" fmla="*/ 0 60000 65536"/>
                          <a:gd name="T30" fmla="*/ 0 60000 65536"/>
                          <a:gd name="T31" fmla="*/ 0 60000 65536"/>
                          <a:gd name="T32" fmla="*/ 0 60000 65536"/>
                          <a:gd name="T33" fmla="*/ 0 60000 65536"/>
                          <a:gd name="T34" fmla="*/ 0 60000 65536"/>
                          <a:gd name="T35" fmla="*/ 0 60000 65536"/>
                          <a:gd name="T36" fmla="*/ 0 60000 65536"/>
                          <a:gd name="T37" fmla="*/ 0 60000 65536"/>
                          <a:gd name="T38" fmla="*/ 0 60000 65536"/>
                          <a:gd name="T39" fmla="*/ 0 w 226"/>
                          <a:gd name="T40" fmla="*/ 0 h 218"/>
                          <a:gd name="T41" fmla="*/ 226 w 226"/>
                          <a:gd name="T42" fmla="*/ 218 h 218"/>
                        </a:gdLst>
                        <a:ahLst/>
                        <a:cxnLst>
                          <a:cxn ang="T26">
                            <a:pos x="T0" y="T1"/>
                          </a:cxn>
                          <a:cxn ang="T27">
                            <a:pos x="T2" y="T3"/>
                          </a:cxn>
                          <a:cxn ang="T28">
                            <a:pos x="T4" y="T5"/>
                          </a:cxn>
                          <a:cxn ang="T29">
                            <a:pos x="T6" y="T7"/>
                          </a:cxn>
                          <a:cxn ang="T30">
                            <a:pos x="T8" y="T9"/>
                          </a:cxn>
                          <a:cxn ang="T31">
                            <a:pos x="T10" y="T11"/>
                          </a:cxn>
                          <a:cxn ang="T32">
                            <a:pos x="T12" y="T13"/>
                          </a:cxn>
                          <a:cxn ang="T33">
                            <a:pos x="T14" y="T15"/>
                          </a:cxn>
                          <a:cxn ang="T34">
                            <a:pos x="T16" y="T17"/>
                          </a:cxn>
                          <a:cxn ang="T35">
                            <a:pos x="T18" y="T19"/>
                          </a:cxn>
                          <a:cxn ang="T36">
                            <a:pos x="T20" y="T21"/>
                          </a:cxn>
                          <a:cxn ang="T37">
                            <a:pos x="T22" y="T23"/>
                          </a:cxn>
                          <a:cxn ang="T38">
                            <a:pos x="T24" y="T25"/>
                          </a:cxn>
                        </a:cxnLst>
                        <a:rect l="T39" t="T40" r="T41" b="T42"/>
                        <a:pathLst>
                          <a:path w="226" h="218">
                            <a:moveTo>
                              <a:pt x="126" y="34"/>
                            </a:moveTo>
                            <a:lnTo>
                              <a:pt x="0" y="0"/>
                            </a:lnTo>
                            <a:lnTo>
                              <a:pt x="25" y="36"/>
                            </a:lnTo>
                            <a:lnTo>
                              <a:pt x="49" y="70"/>
                            </a:lnTo>
                            <a:lnTo>
                              <a:pt x="61" y="84"/>
                            </a:lnTo>
                            <a:lnTo>
                              <a:pt x="85" y="113"/>
                            </a:lnTo>
                            <a:lnTo>
                              <a:pt x="122" y="142"/>
                            </a:lnTo>
                            <a:lnTo>
                              <a:pt x="157" y="170"/>
                            </a:lnTo>
                            <a:lnTo>
                              <a:pt x="193" y="196"/>
                            </a:lnTo>
                            <a:lnTo>
                              <a:pt x="226" y="218"/>
                            </a:lnTo>
                            <a:lnTo>
                              <a:pt x="194" y="157"/>
                            </a:lnTo>
                            <a:lnTo>
                              <a:pt x="158" y="96"/>
                            </a:lnTo>
                            <a:lnTo>
                              <a:pt x="126" y="34"/>
                            </a:lnTo>
                            <a:close/>
                          </a:path>
                        </a:pathLst>
                      </a:custGeom>
                      <a:solidFill>
                        <a:srgbClr val="C0C000"/>
                      </a:solidFill>
                      <a:ln w="1588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id-ID"/>
                      </a:p>
                    </p:txBody>
                  </p:sp>
                  <p:sp>
                    <p:nvSpPr>
                      <p:cNvPr id="152" name="Freeform 167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821" y="1345"/>
                        <a:ext cx="23" cy="5"/>
                      </a:xfrm>
                      <a:custGeom>
                        <a:avLst/>
                        <a:gdLst>
                          <a:gd name="T0" fmla="*/ 0 w 324"/>
                          <a:gd name="T1" fmla="*/ 0 h 68"/>
                          <a:gd name="T2" fmla="*/ 0 w 324"/>
                          <a:gd name="T3" fmla="*/ 0 h 68"/>
                          <a:gd name="T4" fmla="*/ 0 w 324"/>
                          <a:gd name="T5" fmla="*/ 0 h 68"/>
                          <a:gd name="T6" fmla="*/ 0 w 324"/>
                          <a:gd name="T7" fmla="*/ 0 h 68"/>
                          <a:gd name="T8" fmla="*/ 0 w 324"/>
                          <a:gd name="T9" fmla="*/ 0 h 68"/>
                          <a:gd name="T10" fmla="*/ 0 w 324"/>
                          <a:gd name="T11" fmla="*/ 0 h 68"/>
                          <a:gd name="T12" fmla="*/ 0 w 324"/>
                          <a:gd name="T13" fmla="*/ 0 h 68"/>
                          <a:gd name="T14" fmla="*/ 0 w 324"/>
                          <a:gd name="T15" fmla="*/ 0 h 68"/>
                          <a:gd name="T16" fmla="*/ 0 60000 65536"/>
                          <a:gd name="T17" fmla="*/ 0 60000 65536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w 324"/>
                          <a:gd name="T25" fmla="*/ 0 h 68"/>
                          <a:gd name="T26" fmla="*/ 324 w 324"/>
                          <a:gd name="T27" fmla="*/ 68 h 68"/>
                        </a:gdLst>
                        <a:ahLst/>
                        <a:cxnLst>
                          <a:cxn ang="T16">
                            <a:pos x="T0" y="T1"/>
                          </a:cxn>
                          <a:cxn ang="T17">
                            <a:pos x="T2" y="T3"/>
                          </a:cxn>
                          <a:cxn ang="T18">
                            <a:pos x="T4" y="T5"/>
                          </a:cxn>
                          <a:cxn ang="T19">
                            <a:pos x="T6" y="T7"/>
                          </a:cxn>
                          <a:cxn ang="T20">
                            <a:pos x="T8" y="T9"/>
                          </a:cxn>
                          <a:cxn ang="T21">
                            <a:pos x="T10" y="T11"/>
                          </a:cxn>
                          <a:cxn ang="T22">
                            <a:pos x="T12" y="T13"/>
                          </a:cxn>
                          <a:cxn ang="T23">
                            <a:pos x="T14" y="T15"/>
                          </a:cxn>
                        </a:cxnLst>
                        <a:rect l="T24" t="T25" r="T26" b="T27"/>
                        <a:pathLst>
                          <a:path w="324" h="68">
                            <a:moveTo>
                              <a:pt x="0" y="20"/>
                            </a:moveTo>
                            <a:lnTo>
                              <a:pt x="25" y="11"/>
                            </a:lnTo>
                            <a:lnTo>
                              <a:pt x="72" y="3"/>
                            </a:lnTo>
                            <a:lnTo>
                              <a:pt x="132" y="0"/>
                            </a:lnTo>
                            <a:lnTo>
                              <a:pt x="176" y="5"/>
                            </a:lnTo>
                            <a:lnTo>
                              <a:pt x="226" y="18"/>
                            </a:lnTo>
                            <a:lnTo>
                              <a:pt x="277" y="37"/>
                            </a:lnTo>
                            <a:lnTo>
                              <a:pt x="324" y="68"/>
                            </a:lnTo>
                          </a:path>
                        </a:pathLst>
                      </a:custGeom>
                      <a:noFill/>
                      <a:ln w="1588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id-ID"/>
                      </a:p>
                    </p:txBody>
                  </p:sp>
                  <p:sp>
                    <p:nvSpPr>
                      <p:cNvPr id="153" name="Freeform 168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832" y="1352"/>
                        <a:ext cx="12" cy="17"/>
                      </a:xfrm>
                      <a:custGeom>
                        <a:avLst/>
                        <a:gdLst>
                          <a:gd name="T0" fmla="*/ 0 w 173"/>
                          <a:gd name="T1" fmla="*/ 0 h 217"/>
                          <a:gd name="T2" fmla="*/ 0 w 173"/>
                          <a:gd name="T3" fmla="*/ 0 h 217"/>
                          <a:gd name="T4" fmla="*/ 0 w 173"/>
                          <a:gd name="T5" fmla="*/ 0 h 217"/>
                          <a:gd name="T6" fmla="*/ 0 w 173"/>
                          <a:gd name="T7" fmla="*/ 0 h 217"/>
                          <a:gd name="T8" fmla="*/ 0 w 173"/>
                          <a:gd name="T9" fmla="*/ 0 h 217"/>
                          <a:gd name="T10" fmla="*/ 0 w 173"/>
                          <a:gd name="T11" fmla="*/ 0 h 217"/>
                          <a:gd name="T12" fmla="*/ 0 w 173"/>
                          <a:gd name="T13" fmla="*/ 0 h 217"/>
                          <a:gd name="T14" fmla="*/ 0 w 173"/>
                          <a:gd name="T15" fmla="*/ 0 h 217"/>
                          <a:gd name="T16" fmla="*/ 0 w 173"/>
                          <a:gd name="T17" fmla="*/ 0 h 217"/>
                          <a:gd name="T18" fmla="*/ 0 w 173"/>
                          <a:gd name="T19" fmla="*/ 0 h 217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60000 65536"/>
                          <a:gd name="T28" fmla="*/ 0 60000 65536"/>
                          <a:gd name="T29" fmla="*/ 0 60000 65536"/>
                          <a:gd name="T30" fmla="*/ 0 w 173"/>
                          <a:gd name="T31" fmla="*/ 0 h 217"/>
                          <a:gd name="T32" fmla="*/ 173 w 173"/>
                          <a:gd name="T33" fmla="*/ 217 h 217"/>
                        </a:gdLst>
                        <a:ahLst/>
                        <a:cxnLst>
                          <a:cxn ang="T20">
                            <a:pos x="T0" y="T1"/>
                          </a:cxn>
                          <a:cxn ang="T21">
                            <a:pos x="T2" y="T3"/>
                          </a:cxn>
                          <a:cxn ang="T22">
                            <a:pos x="T4" y="T5"/>
                          </a:cxn>
                          <a:cxn ang="T23">
                            <a:pos x="T6" y="T7"/>
                          </a:cxn>
                          <a:cxn ang="T24">
                            <a:pos x="T8" y="T9"/>
                          </a:cxn>
                          <a:cxn ang="T25">
                            <a:pos x="T10" y="T11"/>
                          </a:cxn>
                          <a:cxn ang="T26">
                            <a:pos x="T12" y="T13"/>
                          </a:cxn>
                          <a:cxn ang="T27">
                            <a:pos x="T14" y="T15"/>
                          </a:cxn>
                          <a:cxn ang="T28">
                            <a:pos x="T16" y="T17"/>
                          </a:cxn>
                          <a:cxn ang="T29">
                            <a:pos x="T18" y="T19"/>
                          </a:cxn>
                        </a:cxnLst>
                        <a:rect l="T30" t="T31" r="T32" b="T33"/>
                        <a:pathLst>
                          <a:path w="173" h="217">
                            <a:moveTo>
                              <a:pt x="173" y="0"/>
                            </a:moveTo>
                            <a:lnTo>
                              <a:pt x="169" y="27"/>
                            </a:lnTo>
                            <a:lnTo>
                              <a:pt x="158" y="63"/>
                            </a:lnTo>
                            <a:lnTo>
                              <a:pt x="142" y="101"/>
                            </a:lnTo>
                            <a:lnTo>
                              <a:pt x="120" y="134"/>
                            </a:lnTo>
                            <a:lnTo>
                              <a:pt x="107" y="149"/>
                            </a:lnTo>
                            <a:lnTo>
                              <a:pt x="91" y="165"/>
                            </a:lnTo>
                            <a:lnTo>
                              <a:pt x="61" y="189"/>
                            </a:lnTo>
                            <a:lnTo>
                              <a:pt x="31" y="205"/>
                            </a:lnTo>
                            <a:lnTo>
                              <a:pt x="0" y="217"/>
                            </a:lnTo>
                          </a:path>
                        </a:pathLst>
                      </a:custGeom>
                      <a:noFill/>
                      <a:ln w="1588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id-ID"/>
                      </a:p>
                    </p:txBody>
                  </p:sp>
                </p:grpSp>
              </p:grpSp>
            </p:grpSp>
            <p:grpSp>
              <p:nvGrpSpPr>
                <p:cNvPr id="102" name="Group 1681"/>
                <p:cNvGrpSpPr>
                  <a:grpSpLocks/>
                </p:cNvGrpSpPr>
                <p:nvPr/>
              </p:nvGrpSpPr>
              <p:grpSpPr bwMode="auto">
                <a:xfrm>
                  <a:off x="700" y="1297"/>
                  <a:ext cx="83" cy="64"/>
                  <a:chOff x="700" y="1297"/>
                  <a:chExt cx="83" cy="64"/>
                </a:xfrm>
              </p:grpSpPr>
              <p:sp>
                <p:nvSpPr>
                  <p:cNvPr id="139" name="Freeform 1682"/>
                  <p:cNvSpPr>
                    <a:spLocks/>
                  </p:cNvSpPr>
                  <p:nvPr/>
                </p:nvSpPr>
                <p:spPr bwMode="auto">
                  <a:xfrm>
                    <a:off x="700" y="1297"/>
                    <a:ext cx="37" cy="64"/>
                  </a:xfrm>
                  <a:custGeom>
                    <a:avLst/>
                    <a:gdLst>
                      <a:gd name="T0" fmla="*/ 0 w 512"/>
                      <a:gd name="T1" fmla="*/ 0 h 835"/>
                      <a:gd name="T2" fmla="*/ 0 w 512"/>
                      <a:gd name="T3" fmla="*/ 0 h 835"/>
                      <a:gd name="T4" fmla="*/ 0 w 512"/>
                      <a:gd name="T5" fmla="*/ 0 h 835"/>
                      <a:gd name="T6" fmla="*/ 0 w 512"/>
                      <a:gd name="T7" fmla="*/ 0 h 835"/>
                      <a:gd name="T8" fmla="*/ 0 w 512"/>
                      <a:gd name="T9" fmla="*/ 0 h 83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12"/>
                      <a:gd name="T16" fmla="*/ 0 h 835"/>
                      <a:gd name="T17" fmla="*/ 512 w 512"/>
                      <a:gd name="T18" fmla="*/ 835 h 83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12" h="835">
                        <a:moveTo>
                          <a:pt x="0" y="104"/>
                        </a:moveTo>
                        <a:lnTo>
                          <a:pt x="512" y="0"/>
                        </a:lnTo>
                        <a:lnTo>
                          <a:pt x="512" y="806"/>
                        </a:lnTo>
                        <a:lnTo>
                          <a:pt x="0" y="835"/>
                        </a:lnTo>
                        <a:lnTo>
                          <a:pt x="0" y="104"/>
                        </a:lnTo>
                        <a:close/>
                      </a:path>
                    </a:pathLst>
                  </a:custGeom>
                  <a:solidFill>
                    <a:srgbClr val="FFC080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  <p:sp>
                <p:nvSpPr>
                  <p:cNvPr id="140" name="Freeform 1683"/>
                  <p:cNvSpPr>
                    <a:spLocks/>
                  </p:cNvSpPr>
                  <p:nvPr/>
                </p:nvSpPr>
                <p:spPr bwMode="auto">
                  <a:xfrm>
                    <a:off x="737" y="1297"/>
                    <a:ext cx="34" cy="64"/>
                  </a:xfrm>
                  <a:custGeom>
                    <a:avLst/>
                    <a:gdLst>
                      <a:gd name="T0" fmla="*/ 0 w 484"/>
                      <a:gd name="T1" fmla="*/ 0 h 832"/>
                      <a:gd name="T2" fmla="*/ 0 w 484"/>
                      <a:gd name="T3" fmla="*/ 0 h 832"/>
                      <a:gd name="T4" fmla="*/ 0 w 484"/>
                      <a:gd name="T5" fmla="*/ 0 h 832"/>
                      <a:gd name="T6" fmla="*/ 0 w 484"/>
                      <a:gd name="T7" fmla="*/ 0 h 832"/>
                      <a:gd name="T8" fmla="*/ 0 w 484"/>
                      <a:gd name="T9" fmla="*/ 0 h 83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484"/>
                      <a:gd name="T16" fmla="*/ 0 h 832"/>
                      <a:gd name="T17" fmla="*/ 484 w 484"/>
                      <a:gd name="T18" fmla="*/ 832 h 83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484" h="832">
                        <a:moveTo>
                          <a:pt x="0" y="0"/>
                        </a:moveTo>
                        <a:lnTo>
                          <a:pt x="484" y="51"/>
                        </a:lnTo>
                        <a:lnTo>
                          <a:pt x="484" y="832"/>
                        </a:lnTo>
                        <a:lnTo>
                          <a:pt x="0" y="80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07000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  <p:sp>
                <p:nvSpPr>
                  <p:cNvPr id="141" name="Freeform 1684"/>
                  <p:cNvSpPr>
                    <a:spLocks/>
                  </p:cNvSpPr>
                  <p:nvPr/>
                </p:nvSpPr>
                <p:spPr bwMode="auto">
                  <a:xfrm>
                    <a:off x="737" y="1297"/>
                    <a:ext cx="46" cy="30"/>
                  </a:xfrm>
                  <a:custGeom>
                    <a:avLst/>
                    <a:gdLst>
                      <a:gd name="T0" fmla="*/ 0 w 646"/>
                      <a:gd name="T1" fmla="*/ 0 h 392"/>
                      <a:gd name="T2" fmla="*/ 0 w 646"/>
                      <a:gd name="T3" fmla="*/ 0 h 392"/>
                      <a:gd name="T4" fmla="*/ 0 w 646"/>
                      <a:gd name="T5" fmla="*/ 0 h 392"/>
                      <a:gd name="T6" fmla="*/ 0 w 646"/>
                      <a:gd name="T7" fmla="*/ 0 h 392"/>
                      <a:gd name="T8" fmla="*/ 0 w 646"/>
                      <a:gd name="T9" fmla="*/ 0 h 39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46"/>
                      <a:gd name="T16" fmla="*/ 0 h 392"/>
                      <a:gd name="T17" fmla="*/ 646 w 646"/>
                      <a:gd name="T18" fmla="*/ 392 h 39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46" h="392">
                        <a:moveTo>
                          <a:pt x="0" y="0"/>
                        </a:moveTo>
                        <a:lnTo>
                          <a:pt x="484" y="49"/>
                        </a:lnTo>
                        <a:lnTo>
                          <a:pt x="646" y="392"/>
                        </a:lnTo>
                        <a:lnTo>
                          <a:pt x="81" y="339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C080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  <p:sp>
                <p:nvSpPr>
                  <p:cNvPr id="142" name="Freeform 1685"/>
                  <p:cNvSpPr>
                    <a:spLocks/>
                  </p:cNvSpPr>
                  <p:nvPr/>
                </p:nvSpPr>
                <p:spPr bwMode="auto">
                  <a:xfrm>
                    <a:off x="737" y="1327"/>
                    <a:ext cx="46" cy="34"/>
                  </a:xfrm>
                  <a:custGeom>
                    <a:avLst/>
                    <a:gdLst>
                      <a:gd name="T0" fmla="*/ 0 w 646"/>
                      <a:gd name="T1" fmla="*/ 0 h 443"/>
                      <a:gd name="T2" fmla="*/ 0 w 646"/>
                      <a:gd name="T3" fmla="*/ 0 h 443"/>
                      <a:gd name="T4" fmla="*/ 0 w 646"/>
                      <a:gd name="T5" fmla="*/ 0 h 443"/>
                      <a:gd name="T6" fmla="*/ 0 w 646"/>
                      <a:gd name="T7" fmla="*/ 0 h 443"/>
                      <a:gd name="T8" fmla="*/ 0 w 646"/>
                      <a:gd name="T9" fmla="*/ 0 h 44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46"/>
                      <a:gd name="T16" fmla="*/ 0 h 443"/>
                      <a:gd name="T17" fmla="*/ 646 w 646"/>
                      <a:gd name="T18" fmla="*/ 443 h 44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46" h="443">
                        <a:moveTo>
                          <a:pt x="0" y="417"/>
                        </a:moveTo>
                        <a:lnTo>
                          <a:pt x="107" y="0"/>
                        </a:lnTo>
                        <a:lnTo>
                          <a:pt x="646" y="51"/>
                        </a:lnTo>
                        <a:lnTo>
                          <a:pt x="456" y="443"/>
                        </a:lnTo>
                        <a:lnTo>
                          <a:pt x="0" y="417"/>
                        </a:lnTo>
                        <a:close/>
                      </a:path>
                    </a:pathLst>
                  </a:custGeom>
                  <a:solidFill>
                    <a:srgbClr val="FF8000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</p:grpSp>
            <p:grpSp>
              <p:nvGrpSpPr>
                <p:cNvPr id="103" name="Group 1686"/>
                <p:cNvGrpSpPr>
                  <a:grpSpLocks/>
                </p:cNvGrpSpPr>
                <p:nvPr/>
              </p:nvGrpSpPr>
              <p:grpSpPr bwMode="auto">
                <a:xfrm>
                  <a:off x="569" y="1334"/>
                  <a:ext cx="119" cy="151"/>
                  <a:chOff x="569" y="1334"/>
                  <a:chExt cx="119" cy="151"/>
                </a:xfrm>
              </p:grpSpPr>
              <p:sp>
                <p:nvSpPr>
                  <p:cNvPr id="104" name="Freeform 1687"/>
                  <p:cNvSpPr>
                    <a:spLocks/>
                  </p:cNvSpPr>
                  <p:nvPr/>
                </p:nvSpPr>
                <p:spPr bwMode="auto">
                  <a:xfrm>
                    <a:off x="616" y="1397"/>
                    <a:ext cx="24" cy="46"/>
                  </a:xfrm>
                  <a:custGeom>
                    <a:avLst/>
                    <a:gdLst>
                      <a:gd name="T0" fmla="*/ 0 w 337"/>
                      <a:gd name="T1" fmla="*/ 0 h 595"/>
                      <a:gd name="T2" fmla="*/ 0 w 337"/>
                      <a:gd name="T3" fmla="*/ 0 h 595"/>
                      <a:gd name="T4" fmla="*/ 0 w 337"/>
                      <a:gd name="T5" fmla="*/ 0 h 595"/>
                      <a:gd name="T6" fmla="*/ 0 w 337"/>
                      <a:gd name="T7" fmla="*/ 0 h 595"/>
                      <a:gd name="T8" fmla="*/ 0 w 337"/>
                      <a:gd name="T9" fmla="*/ 0 h 595"/>
                      <a:gd name="T10" fmla="*/ 0 w 337"/>
                      <a:gd name="T11" fmla="*/ 0 h 595"/>
                      <a:gd name="T12" fmla="*/ 0 w 337"/>
                      <a:gd name="T13" fmla="*/ 0 h 595"/>
                      <a:gd name="T14" fmla="*/ 0 w 337"/>
                      <a:gd name="T15" fmla="*/ 0 h 595"/>
                      <a:gd name="T16" fmla="*/ 0 w 337"/>
                      <a:gd name="T17" fmla="*/ 0 h 595"/>
                      <a:gd name="T18" fmla="*/ 0 w 337"/>
                      <a:gd name="T19" fmla="*/ 0 h 595"/>
                      <a:gd name="T20" fmla="*/ 0 w 337"/>
                      <a:gd name="T21" fmla="*/ 0 h 595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337"/>
                      <a:gd name="T34" fmla="*/ 0 h 595"/>
                      <a:gd name="T35" fmla="*/ 337 w 337"/>
                      <a:gd name="T36" fmla="*/ 595 h 595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337" h="595">
                        <a:moveTo>
                          <a:pt x="337" y="27"/>
                        </a:moveTo>
                        <a:lnTo>
                          <a:pt x="305" y="279"/>
                        </a:lnTo>
                        <a:lnTo>
                          <a:pt x="303" y="405"/>
                        </a:lnTo>
                        <a:lnTo>
                          <a:pt x="287" y="479"/>
                        </a:lnTo>
                        <a:lnTo>
                          <a:pt x="268" y="595"/>
                        </a:lnTo>
                        <a:lnTo>
                          <a:pt x="189" y="574"/>
                        </a:lnTo>
                        <a:lnTo>
                          <a:pt x="134" y="546"/>
                        </a:lnTo>
                        <a:lnTo>
                          <a:pt x="70" y="489"/>
                        </a:lnTo>
                        <a:lnTo>
                          <a:pt x="0" y="409"/>
                        </a:lnTo>
                        <a:lnTo>
                          <a:pt x="251" y="0"/>
                        </a:lnTo>
                        <a:lnTo>
                          <a:pt x="337" y="27"/>
                        </a:lnTo>
                        <a:close/>
                      </a:path>
                    </a:pathLst>
                  </a:custGeom>
                  <a:solidFill>
                    <a:srgbClr val="0000E0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  <p:grpSp>
                <p:nvGrpSpPr>
                  <p:cNvPr id="105" name="Group 1688"/>
                  <p:cNvGrpSpPr>
                    <a:grpSpLocks/>
                  </p:cNvGrpSpPr>
                  <p:nvPr/>
                </p:nvGrpSpPr>
                <p:grpSpPr bwMode="auto">
                  <a:xfrm>
                    <a:off x="569" y="1334"/>
                    <a:ext cx="119" cy="151"/>
                    <a:chOff x="569" y="1334"/>
                    <a:chExt cx="119" cy="151"/>
                  </a:xfrm>
                </p:grpSpPr>
                <p:grpSp>
                  <p:nvGrpSpPr>
                    <p:cNvPr id="106" name="Group 1689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665" y="1364"/>
                      <a:ext cx="21" cy="22"/>
                      <a:chOff x="665" y="1364"/>
                      <a:chExt cx="21" cy="22"/>
                    </a:xfrm>
                  </p:grpSpPr>
                  <p:sp>
                    <p:nvSpPr>
                      <p:cNvPr id="136" name="Freeform 169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65" y="1364"/>
                        <a:ext cx="21" cy="22"/>
                      </a:xfrm>
                      <a:custGeom>
                        <a:avLst/>
                        <a:gdLst>
                          <a:gd name="T0" fmla="*/ 0 w 294"/>
                          <a:gd name="T1" fmla="*/ 0 h 292"/>
                          <a:gd name="T2" fmla="*/ 0 w 294"/>
                          <a:gd name="T3" fmla="*/ 0 h 292"/>
                          <a:gd name="T4" fmla="*/ 0 w 294"/>
                          <a:gd name="T5" fmla="*/ 0 h 292"/>
                          <a:gd name="T6" fmla="*/ 0 w 294"/>
                          <a:gd name="T7" fmla="*/ 0 h 292"/>
                          <a:gd name="T8" fmla="*/ 0 w 294"/>
                          <a:gd name="T9" fmla="*/ 0 h 292"/>
                          <a:gd name="T10" fmla="*/ 0 w 294"/>
                          <a:gd name="T11" fmla="*/ 0 h 292"/>
                          <a:gd name="T12" fmla="*/ 0 w 294"/>
                          <a:gd name="T13" fmla="*/ 0 h 292"/>
                          <a:gd name="T14" fmla="*/ 0 w 294"/>
                          <a:gd name="T15" fmla="*/ 0 h 292"/>
                          <a:gd name="T16" fmla="*/ 0 w 294"/>
                          <a:gd name="T17" fmla="*/ 0 h 292"/>
                          <a:gd name="T18" fmla="*/ 0 w 294"/>
                          <a:gd name="T19" fmla="*/ 0 h 292"/>
                          <a:gd name="T20" fmla="*/ 0 w 294"/>
                          <a:gd name="T21" fmla="*/ 0 h 292"/>
                          <a:gd name="T22" fmla="*/ 0 w 294"/>
                          <a:gd name="T23" fmla="*/ 0 h 292"/>
                          <a:gd name="T24" fmla="*/ 0 w 294"/>
                          <a:gd name="T25" fmla="*/ 0 h 292"/>
                          <a:gd name="T26" fmla="*/ 0 w 294"/>
                          <a:gd name="T27" fmla="*/ 0 h 292"/>
                          <a:gd name="T28" fmla="*/ 0 w 294"/>
                          <a:gd name="T29" fmla="*/ 0 h 292"/>
                          <a:gd name="T30" fmla="*/ 0 w 294"/>
                          <a:gd name="T31" fmla="*/ 0 h 292"/>
                          <a:gd name="T32" fmla="*/ 0 w 294"/>
                          <a:gd name="T33" fmla="*/ 0 h 292"/>
                          <a:gd name="T34" fmla="*/ 0 w 294"/>
                          <a:gd name="T35" fmla="*/ 0 h 292"/>
                          <a:gd name="T36" fmla="*/ 0 w 294"/>
                          <a:gd name="T37" fmla="*/ 0 h 292"/>
                          <a:gd name="T38" fmla="*/ 0 w 294"/>
                          <a:gd name="T39" fmla="*/ 0 h 292"/>
                          <a:gd name="T40" fmla="*/ 0 w 294"/>
                          <a:gd name="T41" fmla="*/ 0 h 292"/>
                          <a:gd name="T42" fmla="*/ 0 w 294"/>
                          <a:gd name="T43" fmla="*/ 0 h 292"/>
                          <a:gd name="T44" fmla="*/ 0 w 294"/>
                          <a:gd name="T45" fmla="*/ 0 h 292"/>
                          <a:gd name="T46" fmla="*/ 0 w 294"/>
                          <a:gd name="T47" fmla="*/ 0 h 292"/>
                          <a:gd name="T48" fmla="*/ 0 w 294"/>
                          <a:gd name="T49" fmla="*/ 0 h 292"/>
                          <a:gd name="T50" fmla="*/ 0 w 294"/>
                          <a:gd name="T51" fmla="*/ 0 h 292"/>
                          <a:gd name="T52" fmla="*/ 0 w 294"/>
                          <a:gd name="T53" fmla="*/ 0 h 292"/>
                          <a:gd name="T54" fmla="*/ 0 w 294"/>
                          <a:gd name="T55" fmla="*/ 0 h 292"/>
                          <a:gd name="T56" fmla="*/ 0 w 294"/>
                          <a:gd name="T57" fmla="*/ 0 h 292"/>
                          <a:gd name="T58" fmla="*/ 0 w 294"/>
                          <a:gd name="T59" fmla="*/ 0 h 292"/>
                          <a:gd name="T60" fmla="*/ 0 w 294"/>
                          <a:gd name="T61" fmla="*/ 0 h 292"/>
                          <a:gd name="T62" fmla="*/ 0 w 294"/>
                          <a:gd name="T63" fmla="*/ 0 h 292"/>
                          <a:gd name="T64" fmla="*/ 0 w 294"/>
                          <a:gd name="T65" fmla="*/ 0 h 292"/>
                          <a:gd name="T66" fmla="*/ 0 w 294"/>
                          <a:gd name="T67" fmla="*/ 0 h 292"/>
                          <a:gd name="T68" fmla="*/ 0 w 294"/>
                          <a:gd name="T69" fmla="*/ 0 h 292"/>
                          <a:gd name="T70" fmla="*/ 0 w 294"/>
                          <a:gd name="T71" fmla="*/ 0 h 292"/>
                          <a:gd name="T72" fmla="*/ 0 w 294"/>
                          <a:gd name="T73" fmla="*/ 0 h 292"/>
                          <a:gd name="T74" fmla="*/ 0 w 294"/>
                          <a:gd name="T75" fmla="*/ 0 h 292"/>
                          <a:gd name="T76" fmla="*/ 0 w 294"/>
                          <a:gd name="T77" fmla="*/ 0 h 292"/>
                          <a:gd name="T78" fmla="*/ 0 w 294"/>
                          <a:gd name="T79" fmla="*/ 0 h 292"/>
                          <a:gd name="T80" fmla="*/ 0 w 294"/>
                          <a:gd name="T81" fmla="*/ 0 h 292"/>
                          <a:gd name="T82" fmla="*/ 0 w 294"/>
                          <a:gd name="T83" fmla="*/ 0 h 292"/>
                          <a:gd name="T84" fmla="*/ 0 w 294"/>
                          <a:gd name="T85" fmla="*/ 0 h 292"/>
                          <a:gd name="T86" fmla="*/ 0 w 294"/>
                          <a:gd name="T87" fmla="*/ 0 h 292"/>
                          <a:gd name="T88" fmla="*/ 0 w 294"/>
                          <a:gd name="T89" fmla="*/ 0 h 292"/>
                          <a:gd name="T90" fmla="*/ 0 w 294"/>
                          <a:gd name="T91" fmla="*/ 0 h 292"/>
                          <a:gd name="T92" fmla="*/ 0 w 294"/>
                          <a:gd name="T93" fmla="*/ 0 h 292"/>
                          <a:gd name="T94" fmla="*/ 0 60000 65536"/>
                          <a:gd name="T95" fmla="*/ 0 60000 65536"/>
                          <a:gd name="T96" fmla="*/ 0 60000 65536"/>
                          <a:gd name="T97" fmla="*/ 0 60000 65536"/>
                          <a:gd name="T98" fmla="*/ 0 60000 65536"/>
                          <a:gd name="T99" fmla="*/ 0 60000 65536"/>
                          <a:gd name="T100" fmla="*/ 0 60000 65536"/>
                          <a:gd name="T101" fmla="*/ 0 60000 65536"/>
                          <a:gd name="T102" fmla="*/ 0 60000 65536"/>
                          <a:gd name="T103" fmla="*/ 0 60000 65536"/>
                          <a:gd name="T104" fmla="*/ 0 60000 65536"/>
                          <a:gd name="T105" fmla="*/ 0 60000 65536"/>
                          <a:gd name="T106" fmla="*/ 0 60000 65536"/>
                          <a:gd name="T107" fmla="*/ 0 60000 65536"/>
                          <a:gd name="T108" fmla="*/ 0 60000 65536"/>
                          <a:gd name="T109" fmla="*/ 0 60000 65536"/>
                          <a:gd name="T110" fmla="*/ 0 60000 65536"/>
                          <a:gd name="T111" fmla="*/ 0 60000 65536"/>
                          <a:gd name="T112" fmla="*/ 0 60000 65536"/>
                          <a:gd name="T113" fmla="*/ 0 60000 65536"/>
                          <a:gd name="T114" fmla="*/ 0 60000 65536"/>
                          <a:gd name="T115" fmla="*/ 0 60000 65536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60000 65536"/>
                          <a:gd name="T133" fmla="*/ 0 60000 65536"/>
                          <a:gd name="T134" fmla="*/ 0 60000 65536"/>
                          <a:gd name="T135" fmla="*/ 0 60000 65536"/>
                          <a:gd name="T136" fmla="*/ 0 60000 65536"/>
                          <a:gd name="T137" fmla="*/ 0 60000 65536"/>
                          <a:gd name="T138" fmla="*/ 0 60000 65536"/>
                          <a:gd name="T139" fmla="*/ 0 60000 65536"/>
                          <a:gd name="T140" fmla="*/ 0 60000 65536"/>
                          <a:gd name="T141" fmla="*/ 0 w 294"/>
                          <a:gd name="T142" fmla="*/ 0 h 292"/>
                          <a:gd name="T143" fmla="*/ 294 w 294"/>
                          <a:gd name="T144" fmla="*/ 292 h 292"/>
                        </a:gdLst>
                        <a:ahLst/>
                        <a:cxnLst>
                          <a:cxn ang="T94">
                            <a:pos x="T0" y="T1"/>
                          </a:cxn>
                          <a:cxn ang="T95">
                            <a:pos x="T2" y="T3"/>
                          </a:cxn>
                          <a:cxn ang="T96">
                            <a:pos x="T4" y="T5"/>
                          </a:cxn>
                          <a:cxn ang="T97">
                            <a:pos x="T6" y="T7"/>
                          </a:cxn>
                          <a:cxn ang="T98">
                            <a:pos x="T8" y="T9"/>
                          </a:cxn>
                          <a:cxn ang="T99">
                            <a:pos x="T10" y="T11"/>
                          </a:cxn>
                          <a:cxn ang="T100">
                            <a:pos x="T12" y="T13"/>
                          </a:cxn>
                          <a:cxn ang="T101">
                            <a:pos x="T14" y="T15"/>
                          </a:cxn>
                          <a:cxn ang="T102">
                            <a:pos x="T16" y="T17"/>
                          </a:cxn>
                          <a:cxn ang="T103">
                            <a:pos x="T18" y="T19"/>
                          </a:cxn>
                          <a:cxn ang="T104">
                            <a:pos x="T20" y="T21"/>
                          </a:cxn>
                          <a:cxn ang="T105">
                            <a:pos x="T22" y="T23"/>
                          </a:cxn>
                          <a:cxn ang="T106">
                            <a:pos x="T24" y="T25"/>
                          </a:cxn>
                          <a:cxn ang="T107">
                            <a:pos x="T26" y="T27"/>
                          </a:cxn>
                          <a:cxn ang="T108">
                            <a:pos x="T28" y="T29"/>
                          </a:cxn>
                          <a:cxn ang="T109">
                            <a:pos x="T30" y="T31"/>
                          </a:cxn>
                          <a:cxn ang="T110">
                            <a:pos x="T32" y="T33"/>
                          </a:cxn>
                          <a:cxn ang="T111">
                            <a:pos x="T34" y="T35"/>
                          </a:cxn>
                          <a:cxn ang="T112">
                            <a:pos x="T36" y="T37"/>
                          </a:cxn>
                          <a:cxn ang="T113">
                            <a:pos x="T38" y="T39"/>
                          </a:cxn>
                          <a:cxn ang="T114">
                            <a:pos x="T40" y="T41"/>
                          </a:cxn>
                          <a:cxn ang="T115">
                            <a:pos x="T42" y="T43"/>
                          </a:cxn>
                          <a:cxn ang="T116">
                            <a:pos x="T44" y="T45"/>
                          </a:cxn>
                          <a:cxn ang="T117">
                            <a:pos x="T46" y="T47"/>
                          </a:cxn>
                          <a:cxn ang="T118">
                            <a:pos x="T48" y="T49"/>
                          </a:cxn>
                          <a:cxn ang="T119">
                            <a:pos x="T50" y="T51"/>
                          </a:cxn>
                          <a:cxn ang="T120">
                            <a:pos x="T52" y="T53"/>
                          </a:cxn>
                          <a:cxn ang="T121">
                            <a:pos x="T54" y="T55"/>
                          </a:cxn>
                          <a:cxn ang="T122">
                            <a:pos x="T56" y="T57"/>
                          </a:cxn>
                          <a:cxn ang="T123">
                            <a:pos x="T58" y="T59"/>
                          </a:cxn>
                          <a:cxn ang="T124">
                            <a:pos x="T60" y="T61"/>
                          </a:cxn>
                          <a:cxn ang="T125">
                            <a:pos x="T62" y="T63"/>
                          </a:cxn>
                          <a:cxn ang="T126">
                            <a:pos x="T64" y="T65"/>
                          </a:cxn>
                          <a:cxn ang="T127">
                            <a:pos x="T66" y="T67"/>
                          </a:cxn>
                          <a:cxn ang="T128">
                            <a:pos x="T68" y="T69"/>
                          </a:cxn>
                          <a:cxn ang="T129">
                            <a:pos x="T70" y="T71"/>
                          </a:cxn>
                          <a:cxn ang="T130">
                            <a:pos x="T72" y="T73"/>
                          </a:cxn>
                          <a:cxn ang="T131">
                            <a:pos x="T74" y="T75"/>
                          </a:cxn>
                          <a:cxn ang="T132">
                            <a:pos x="T76" y="T77"/>
                          </a:cxn>
                          <a:cxn ang="T133">
                            <a:pos x="T78" y="T79"/>
                          </a:cxn>
                          <a:cxn ang="T134">
                            <a:pos x="T80" y="T81"/>
                          </a:cxn>
                          <a:cxn ang="T135">
                            <a:pos x="T82" y="T83"/>
                          </a:cxn>
                          <a:cxn ang="T136">
                            <a:pos x="T84" y="T85"/>
                          </a:cxn>
                          <a:cxn ang="T137">
                            <a:pos x="T86" y="T87"/>
                          </a:cxn>
                          <a:cxn ang="T138">
                            <a:pos x="T88" y="T89"/>
                          </a:cxn>
                          <a:cxn ang="T139">
                            <a:pos x="T90" y="T91"/>
                          </a:cxn>
                          <a:cxn ang="T140">
                            <a:pos x="T92" y="T93"/>
                          </a:cxn>
                        </a:cxnLst>
                        <a:rect l="T141" t="T142" r="T143" b="T144"/>
                        <a:pathLst>
                          <a:path w="294" h="292">
                            <a:moveTo>
                              <a:pt x="20" y="189"/>
                            </a:moveTo>
                            <a:lnTo>
                              <a:pt x="97" y="169"/>
                            </a:lnTo>
                            <a:lnTo>
                              <a:pt x="105" y="159"/>
                            </a:lnTo>
                            <a:lnTo>
                              <a:pt x="103" y="128"/>
                            </a:lnTo>
                            <a:lnTo>
                              <a:pt x="91" y="87"/>
                            </a:lnTo>
                            <a:lnTo>
                              <a:pt x="87" y="51"/>
                            </a:lnTo>
                            <a:lnTo>
                              <a:pt x="89" y="39"/>
                            </a:lnTo>
                            <a:lnTo>
                              <a:pt x="105" y="29"/>
                            </a:lnTo>
                            <a:lnTo>
                              <a:pt x="193" y="10"/>
                            </a:lnTo>
                            <a:lnTo>
                              <a:pt x="249" y="0"/>
                            </a:lnTo>
                            <a:lnTo>
                              <a:pt x="255" y="1"/>
                            </a:lnTo>
                            <a:lnTo>
                              <a:pt x="263" y="15"/>
                            </a:lnTo>
                            <a:lnTo>
                              <a:pt x="264" y="28"/>
                            </a:lnTo>
                            <a:lnTo>
                              <a:pt x="248" y="37"/>
                            </a:lnTo>
                            <a:lnTo>
                              <a:pt x="230" y="44"/>
                            </a:lnTo>
                            <a:lnTo>
                              <a:pt x="260" y="39"/>
                            </a:lnTo>
                            <a:lnTo>
                              <a:pt x="283" y="41"/>
                            </a:lnTo>
                            <a:lnTo>
                              <a:pt x="294" y="46"/>
                            </a:lnTo>
                            <a:lnTo>
                              <a:pt x="294" y="58"/>
                            </a:lnTo>
                            <a:lnTo>
                              <a:pt x="293" y="66"/>
                            </a:lnTo>
                            <a:lnTo>
                              <a:pt x="283" y="73"/>
                            </a:lnTo>
                            <a:lnTo>
                              <a:pt x="261" y="81"/>
                            </a:lnTo>
                            <a:lnTo>
                              <a:pt x="242" y="84"/>
                            </a:lnTo>
                            <a:lnTo>
                              <a:pt x="276" y="90"/>
                            </a:lnTo>
                            <a:lnTo>
                              <a:pt x="292" y="96"/>
                            </a:lnTo>
                            <a:lnTo>
                              <a:pt x="294" y="109"/>
                            </a:lnTo>
                            <a:lnTo>
                              <a:pt x="293" y="121"/>
                            </a:lnTo>
                            <a:lnTo>
                              <a:pt x="286" y="126"/>
                            </a:lnTo>
                            <a:lnTo>
                              <a:pt x="257" y="131"/>
                            </a:lnTo>
                            <a:lnTo>
                              <a:pt x="234" y="131"/>
                            </a:lnTo>
                            <a:lnTo>
                              <a:pt x="199" y="135"/>
                            </a:lnTo>
                            <a:lnTo>
                              <a:pt x="183" y="146"/>
                            </a:lnTo>
                            <a:lnTo>
                              <a:pt x="180" y="156"/>
                            </a:lnTo>
                            <a:lnTo>
                              <a:pt x="180" y="186"/>
                            </a:lnTo>
                            <a:lnTo>
                              <a:pt x="201" y="229"/>
                            </a:lnTo>
                            <a:lnTo>
                              <a:pt x="214" y="269"/>
                            </a:lnTo>
                            <a:lnTo>
                              <a:pt x="214" y="289"/>
                            </a:lnTo>
                            <a:lnTo>
                              <a:pt x="183" y="292"/>
                            </a:lnTo>
                            <a:lnTo>
                              <a:pt x="162" y="284"/>
                            </a:lnTo>
                            <a:lnTo>
                              <a:pt x="147" y="271"/>
                            </a:lnTo>
                            <a:lnTo>
                              <a:pt x="136" y="244"/>
                            </a:lnTo>
                            <a:lnTo>
                              <a:pt x="136" y="238"/>
                            </a:lnTo>
                            <a:lnTo>
                              <a:pt x="113" y="241"/>
                            </a:lnTo>
                            <a:lnTo>
                              <a:pt x="61" y="256"/>
                            </a:lnTo>
                            <a:lnTo>
                              <a:pt x="0" y="271"/>
                            </a:lnTo>
                            <a:lnTo>
                              <a:pt x="0" y="194"/>
                            </a:lnTo>
                            <a:lnTo>
                              <a:pt x="20" y="189"/>
                            </a:lnTo>
                            <a:close/>
                          </a:path>
                        </a:pathLst>
                      </a:custGeom>
                      <a:solidFill>
                        <a:srgbClr val="FFE0C0"/>
                      </a:solidFill>
                      <a:ln w="1588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id-ID"/>
                      </a:p>
                    </p:txBody>
                  </p:sp>
                  <p:sp>
                    <p:nvSpPr>
                      <p:cNvPr id="137" name="Freeform 169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77" y="1367"/>
                        <a:ext cx="4" cy="1"/>
                      </a:xfrm>
                      <a:custGeom>
                        <a:avLst/>
                        <a:gdLst>
                          <a:gd name="T0" fmla="*/ 0 w 68"/>
                          <a:gd name="T1" fmla="*/ 0 h 10"/>
                          <a:gd name="T2" fmla="*/ 0 w 68"/>
                          <a:gd name="T3" fmla="*/ 0 h 10"/>
                          <a:gd name="T4" fmla="*/ 0 w 68"/>
                          <a:gd name="T5" fmla="*/ 0 h 10"/>
                          <a:gd name="T6" fmla="*/ 0 60000 65536"/>
                          <a:gd name="T7" fmla="*/ 0 60000 65536"/>
                          <a:gd name="T8" fmla="*/ 0 60000 65536"/>
                          <a:gd name="T9" fmla="*/ 0 w 68"/>
                          <a:gd name="T10" fmla="*/ 0 h 10"/>
                          <a:gd name="T11" fmla="*/ 68 w 68"/>
                          <a:gd name="T12" fmla="*/ 10 h 10"/>
                        </a:gdLst>
                        <a:ahLst/>
                        <a:cxnLst>
                          <a:cxn ang="T6">
                            <a:pos x="T0" y="T1"/>
                          </a:cxn>
                          <a:cxn ang="T7">
                            <a:pos x="T2" y="T3"/>
                          </a:cxn>
                          <a:cxn ang="T8">
                            <a:pos x="T4" y="T5"/>
                          </a:cxn>
                        </a:cxnLst>
                        <a:rect l="T9" t="T10" r="T11" b="T12"/>
                        <a:pathLst>
                          <a:path w="68" h="10">
                            <a:moveTo>
                              <a:pt x="68" y="0"/>
                            </a:moveTo>
                            <a:lnTo>
                              <a:pt x="25" y="5"/>
                            </a:lnTo>
                            <a:lnTo>
                              <a:pt x="0" y="10"/>
                            </a:lnTo>
                          </a:path>
                        </a:pathLst>
                      </a:custGeom>
                      <a:noFill/>
                      <a:ln w="1588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id-ID"/>
                      </a:p>
                    </p:txBody>
                  </p:sp>
                  <p:sp>
                    <p:nvSpPr>
                      <p:cNvPr id="138" name="Freeform 169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77" y="1370"/>
                        <a:ext cx="6" cy="1"/>
                      </a:xfrm>
                      <a:custGeom>
                        <a:avLst/>
                        <a:gdLst>
                          <a:gd name="T0" fmla="*/ 0 w 73"/>
                          <a:gd name="T1" fmla="*/ 0 h 10"/>
                          <a:gd name="T2" fmla="*/ 0 w 73"/>
                          <a:gd name="T3" fmla="*/ 0 h 10"/>
                          <a:gd name="T4" fmla="*/ 0 w 73"/>
                          <a:gd name="T5" fmla="*/ 0 h 10"/>
                          <a:gd name="T6" fmla="*/ 0 w 73"/>
                          <a:gd name="T7" fmla="*/ 0 h 10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  <a:gd name="T12" fmla="*/ 0 w 73"/>
                          <a:gd name="T13" fmla="*/ 0 h 10"/>
                          <a:gd name="T14" fmla="*/ 73 w 73"/>
                          <a:gd name="T15" fmla="*/ 10 h 10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T12" t="T13" r="T14" b="T15"/>
                        <a:pathLst>
                          <a:path w="73" h="10">
                            <a:moveTo>
                              <a:pt x="73" y="0"/>
                            </a:moveTo>
                            <a:lnTo>
                              <a:pt x="50" y="0"/>
                            </a:lnTo>
                            <a:lnTo>
                              <a:pt x="30" y="6"/>
                            </a:lnTo>
                            <a:lnTo>
                              <a:pt x="0" y="10"/>
                            </a:lnTo>
                          </a:path>
                        </a:pathLst>
                      </a:custGeom>
                      <a:noFill/>
                      <a:ln w="1588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id-ID"/>
                      </a:p>
                    </p:txBody>
                  </p:sp>
                </p:grpSp>
                <p:grpSp>
                  <p:nvGrpSpPr>
                    <p:cNvPr id="107" name="Group 1693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569" y="1420"/>
                      <a:ext cx="57" cy="65"/>
                      <a:chOff x="569" y="1420"/>
                      <a:chExt cx="57" cy="65"/>
                    </a:xfrm>
                  </p:grpSpPr>
                  <p:grpSp>
                    <p:nvGrpSpPr>
                      <p:cNvPr id="130" name="Group 1694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575" y="1421"/>
                        <a:ext cx="51" cy="62"/>
                        <a:chOff x="575" y="1421"/>
                        <a:chExt cx="51" cy="62"/>
                      </a:xfrm>
                    </p:grpSpPr>
                    <p:sp>
                      <p:nvSpPr>
                        <p:cNvPr id="134" name="Freeform 1695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575" y="1421"/>
                          <a:ext cx="51" cy="55"/>
                        </a:xfrm>
                        <a:custGeom>
                          <a:avLst/>
                          <a:gdLst>
                            <a:gd name="T0" fmla="*/ 0 w 709"/>
                            <a:gd name="T1" fmla="*/ 0 h 713"/>
                            <a:gd name="T2" fmla="*/ 0 w 709"/>
                            <a:gd name="T3" fmla="*/ 0 h 713"/>
                            <a:gd name="T4" fmla="*/ 0 w 709"/>
                            <a:gd name="T5" fmla="*/ 0 h 713"/>
                            <a:gd name="T6" fmla="*/ 0 w 709"/>
                            <a:gd name="T7" fmla="*/ 0 h 713"/>
                            <a:gd name="T8" fmla="*/ 0 w 709"/>
                            <a:gd name="T9" fmla="*/ 0 h 713"/>
                            <a:gd name="T10" fmla="*/ 0 w 709"/>
                            <a:gd name="T11" fmla="*/ 0 h 713"/>
                            <a:gd name="T12" fmla="*/ 0 w 709"/>
                            <a:gd name="T13" fmla="*/ 0 h 713"/>
                            <a:gd name="T14" fmla="*/ 0 w 709"/>
                            <a:gd name="T15" fmla="*/ 0 h 713"/>
                            <a:gd name="T16" fmla="*/ 0 w 709"/>
                            <a:gd name="T17" fmla="*/ 0 h 713"/>
                            <a:gd name="T18" fmla="*/ 0 w 709"/>
                            <a:gd name="T19" fmla="*/ 0 h 713"/>
                            <a:gd name="T20" fmla="*/ 0 w 709"/>
                            <a:gd name="T21" fmla="*/ 0 h 713"/>
                            <a:gd name="T22" fmla="*/ 0 w 709"/>
                            <a:gd name="T23" fmla="*/ 0 h 713"/>
                            <a:gd name="T24" fmla="*/ 0 w 709"/>
                            <a:gd name="T25" fmla="*/ 0 h 713"/>
                            <a:gd name="T26" fmla="*/ 0 w 709"/>
                            <a:gd name="T27" fmla="*/ 0 h 713"/>
                            <a:gd name="T28" fmla="*/ 0 w 709"/>
                            <a:gd name="T29" fmla="*/ 0 h 713"/>
                            <a:gd name="T30" fmla="*/ 0 w 709"/>
                            <a:gd name="T31" fmla="*/ 0 h 713"/>
                            <a:gd name="T32" fmla="*/ 0 w 709"/>
                            <a:gd name="T33" fmla="*/ 0 h 713"/>
                            <a:gd name="T34" fmla="*/ 0 w 709"/>
                            <a:gd name="T35" fmla="*/ 0 h 713"/>
                            <a:gd name="T36" fmla="*/ 0 w 709"/>
                            <a:gd name="T37" fmla="*/ 0 h 713"/>
                            <a:gd name="T38" fmla="*/ 0 w 709"/>
                            <a:gd name="T39" fmla="*/ 0 h 713"/>
                            <a:gd name="T40" fmla="*/ 0 w 709"/>
                            <a:gd name="T41" fmla="*/ 0 h 713"/>
                            <a:gd name="T42" fmla="*/ 0 w 709"/>
                            <a:gd name="T43" fmla="*/ 0 h 713"/>
                            <a:gd name="T44" fmla="*/ 0 w 709"/>
                            <a:gd name="T45" fmla="*/ 0 h 713"/>
                            <a:gd name="T46" fmla="*/ 0 w 709"/>
                            <a:gd name="T47" fmla="*/ 0 h 713"/>
                            <a:gd name="T48" fmla="*/ 0 w 709"/>
                            <a:gd name="T49" fmla="*/ 0 h 713"/>
                            <a:gd name="T50" fmla="*/ 0 w 709"/>
                            <a:gd name="T51" fmla="*/ 0 h 713"/>
                            <a:gd name="T52" fmla="*/ 0 60000 65536"/>
                            <a:gd name="T53" fmla="*/ 0 60000 65536"/>
                            <a:gd name="T54" fmla="*/ 0 60000 65536"/>
                            <a:gd name="T55" fmla="*/ 0 60000 65536"/>
                            <a:gd name="T56" fmla="*/ 0 60000 65536"/>
                            <a:gd name="T57" fmla="*/ 0 60000 65536"/>
                            <a:gd name="T58" fmla="*/ 0 60000 65536"/>
                            <a:gd name="T59" fmla="*/ 0 60000 65536"/>
                            <a:gd name="T60" fmla="*/ 0 60000 65536"/>
                            <a:gd name="T61" fmla="*/ 0 60000 65536"/>
                            <a:gd name="T62" fmla="*/ 0 60000 65536"/>
                            <a:gd name="T63" fmla="*/ 0 60000 65536"/>
                            <a:gd name="T64" fmla="*/ 0 60000 65536"/>
                            <a:gd name="T65" fmla="*/ 0 60000 65536"/>
                            <a:gd name="T66" fmla="*/ 0 60000 65536"/>
                            <a:gd name="T67" fmla="*/ 0 60000 65536"/>
                            <a:gd name="T68" fmla="*/ 0 60000 65536"/>
                            <a:gd name="T69" fmla="*/ 0 60000 65536"/>
                            <a:gd name="T70" fmla="*/ 0 60000 65536"/>
                            <a:gd name="T71" fmla="*/ 0 60000 65536"/>
                            <a:gd name="T72" fmla="*/ 0 60000 65536"/>
                            <a:gd name="T73" fmla="*/ 0 60000 65536"/>
                            <a:gd name="T74" fmla="*/ 0 60000 65536"/>
                            <a:gd name="T75" fmla="*/ 0 60000 65536"/>
                            <a:gd name="T76" fmla="*/ 0 60000 65536"/>
                            <a:gd name="T77" fmla="*/ 0 60000 65536"/>
                            <a:gd name="T78" fmla="*/ 0 w 709"/>
                            <a:gd name="T79" fmla="*/ 0 h 713"/>
                            <a:gd name="T80" fmla="*/ 709 w 709"/>
                            <a:gd name="T81" fmla="*/ 713 h 713"/>
                          </a:gdLst>
                          <a:ahLst/>
                          <a:cxnLst>
                            <a:cxn ang="T52">
                              <a:pos x="T0" y="T1"/>
                            </a:cxn>
                            <a:cxn ang="T53">
                              <a:pos x="T2" y="T3"/>
                            </a:cxn>
                            <a:cxn ang="T54">
                              <a:pos x="T4" y="T5"/>
                            </a:cxn>
                            <a:cxn ang="T55">
                              <a:pos x="T6" y="T7"/>
                            </a:cxn>
                            <a:cxn ang="T56">
                              <a:pos x="T8" y="T9"/>
                            </a:cxn>
                            <a:cxn ang="T57">
                              <a:pos x="T10" y="T11"/>
                            </a:cxn>
                            <a:cxn ang="T58">
                              <a:pos x="T12" y="T13"/>
                            </a:cxn>
                            <a:cxn ang="T59">
                              <a:pos x="T14" y="T15"/>
                            </a:cxn>
                            <a:cxn ang="T60">
                              <a:pos x="T16" y="T17"/>
                            </a:cxn>
                            <a:cxn ang="T61">
                              <a:pos x="T18" y="T19"/>
                            </a:cxn>
                            <a:cxn ang="T62">
                              <a:pos x="T20" y="T21"/>
                            </a:cxn>
                            <a:cxn ang="T63">
                              <a:pos x="T22" y="T23"/>
                            </a:cxn>
                            <a:cxn ang="T64">
                              <a:pos x="T24" y="T25"/>
                            </a:cxn>
                            <a:cxn ang="T65">
                              <a:pos x="T26" y="T27"/>
                            </a:cxn>
                            <a:cxn ang="T66">
                              <a:pos x="T28" y="T29"/>
                            </a:cxn>
                            <a:cxn ang="T67">
                              <a:pos x="T30" y="T31"/>
                            </a:cxn>
                            <a:cxn ang="T68">
                              <a:pos x="T32" y="T33"/>
                            </a:cxn>
                            <a:cxn ang="T69">
                              <a:pos x="T34" y="T35"/>
                            </a:cxn>
                            <a:cxn ang="T70">
                              <a:pos x="T36" y="T37"/>
                            </a:cxn>
                            <a:cxn ang="T71">
                              <a:pos x="T38" y="T39"/>
                            </a:cxn>
                            <a:cxn ang="T72">
                              <a:pos x="T40" y="T41"/>
                            </a:cxn>
                            <a:cxn ang="T73">
                              <a:pos x="T42" y="T43"/>
                            </a:cxn>
                            <a:cxn ang="T74">
                              <a:pos x="T44" y="T45"/>
                            </a:cxn>
                            <a:cxn ang="T75">
                              <a:pos x="T46" y="T47"/>
                            </a:cxn>
                            <a:cxn ang="T76">
                              <a:pos x="T48" y="T49"/>
                            </a:cxn>
                            <a:cxn ang="T77">
                              <a:pos x="T50" y="T51"/>
                            </a:cxn>
                          </a:cxnLst>
                          <a:rect l="T78" t="T79" r="T80" b="T81"/>
                          <a:pathLst>
                            <a:path w="709" h="713">
                              <a:moveTo>
                                <a:pt x="423" y="56"/>
                              </a:moveTo>
                              <a:lnTo>
                                <a:pt x="379" y="112"/>
                              </a:lnTo>
                              <a:lnTo>
                                <a:pt x="355" y="178"/>
                              </a:lnTo>
                              <a:lnTo>
                                <a:pt x="349" y="225"/>
                              </a:lnTo>
                              <a:lnTo>
                                <a:pt x="239" y="334"/>
                              </a:lnTo>
                              <a:lnTo>
                                <a:pt x="129" y="451"/>
                              </a:lnTo>
                              <a:lnTo>
                                <a:pt x="64" y="555"/>
                              </a:lnTo>
                              <a:lnTo>
                                <a:pt x="4" y="614"/>
                              </a:lnTo>
                              <a:lnTo>
                                <a:pt x="0" y="653"/>
                              </a:lnTo>
                              <a:lnTo>
                                <a:pt x="26" y="699"/>
                              </a:lnTo>
                              <a:lnTo>
                                <a:pt x="101" y="706"/>
                              </a:lnTo>
                              <a:lnTo>
                                <a:pt x="147" y="713"/>
                              </a:lnTo>
                              <a:lnTo>
                                <a:pt x="220" y="695"/>
                              </a:lnTo>
                              <a:lnTo>
                                <a:pt x="294" y="610"/>
                              </a:lnTo>
                              <a:lnTo>
                                <a:pt x="400" y="508"/>
                              </a:lnTo>
                              <a:lnTo>
                                <a:pt x="460" y="489"/>
                              </a:lnTo>
                              <a:lnTo>
                                <a:pt x="494" y="390"/>
                              </a:lnTo>
                              <a:lnTo>
                                <a:pt x="555" y="311"/>
                              </a:lnTo>
                              <a:lnTo>
                                <a:pt x="633" y="242"/>
                              </a:lnTo>
                              <a:lnTo>
                                <a:pt x="663" y="192"/>
                              </a:lnTo>
                              <a:lnTo>
                                <a:pt x="709" y="113"/>
                              </a:lnTo>
                              <a:lnTo>
                                <a:pt x="657" y="71"/>
                              </a:lnTo>
                              <a:lnTo>
                                <a:pt x="588" y="51"/>
                              </a:lnTo>
                              <a:lnTo>
                                <a:pt x="529" y="28"/>
                              </a:lnTo>
                              <a:lnTo>
                                <a:pt x="489" y="0"/>
                              </a:lnTo>
                              <a:lnTo>
                                <a:pt x="423" y="56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A0A0A0"/>
                        </a:solidFill>
                        <a:ln w="1588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endParaRPr lang="id-ID"/>
                        </a:p>
                      </p:txBody>
                    </p:sp>
                    <p:sp>
                      <p:nvSpPr>
                        <p:cNvPr id="135" name="Freeform 1696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575" y="1468"/>
                          <a:ext cx="42" cy="15"/>
                        </a:xfrm>
                        <a:custGeom>
                          <a:avLst/>
                          <a:gdLst>
                            <a:gd name="T0" fmla="*/ 0 w 588"/>
                            <a:gd name="T1" fmla="*/ 0 h 198"/>
                            <a:gd name="T2" fmla="*/ 0 w 588"/>
                            <a:gd name="T3" fmla="*/ 0 h 198"/>
                            <a:gd name="T4" fmla="*/ 0 w 588"/>
                            <a:gd name="T5" fmla="*/ 0 h 198"/>
                            <a:gd name="T6" fmla="*/ 0 w 588"/>
                            <a:gd name="T7" fmla="*/ 0 h 198"/>
                            <a:gd name="T8" fmla="*/ 0 w 588"/>
                            <a:gd name="T9" fmla="*/ 0 h 198"/>
                            <a:gd name="T10" fmla="*/ 0 w 588"/>
                            <a:gd name="T11" fmla="*/ 0 h 198"/>
                            <a:gd name="T12" fmla="*/ 0 w 588"/>
                            <a:gd name="T13" fmla="*/ 0 h 198"/>
                            <a:gd name="T14" fmla="*/ 0 w 588"/>
                            <a:gd name="T15" fmla="*/ 0 h 198"/>
                            <a:gd name="T16" fmla="*/ 0 w 588"/>
                            <a:gd name="T17" fmla="*/ 0 h 198"/>
                            <a:gd name="T18" fmla="*/ 0 w 588"/>
                            <a:gd name="T19" fmla="*/ 0 h 198"/>
                            <a:gd name="T20" fmla="*/ 0 w 588"/>
                            <a:gd name="T21" fmla="*/ 0 h 198"/>
                            <a:gd name="T22" fmla="*/ 0 w 588"/>
                            <a:gd name="T23" fmla="*/ 0 h 198"/>
                            <a:gd name="T24" fmla="*/ 0 w 588"/>
                            <a:gd name="T25" fmla="*/ 0 h 198"/>
                            <a:gd name="T26" fmla="*/ 0 w 588"/>
                            <a:gd name="T27" fmla="*/ 0 h 198"/>
                            <a:gd name="T28" fmla="*/ 0 w 588"/>
                            <a:gd name="T29" fmla="*/ 0 h 198"/>
                            <a:gd name="T30" fmla="*/ 0 w 588"/>
                            <a:gd name="T31" fmla="*/ 0 h 198"/>
                            <a:gd name="T32" fmla="*/ 0 w 588"/>
                            <a:gd name="T33" fmla="*/ 0 h 198"/>
                            <a:gd name="T34" fmla="*/ 0 w 588"/>
                            <a:gd name="T35" fmla="*/ 0 h 198"/>
                            <a:gd name="T36" fmla="*/ 0 w 588"/>
                            <a:gd name="T37" fmla="*/ 0 h 198"/>
                            <a:gd name="T38" fmla="*/ 0 w 588"/>
                            <a:gd name="T39" fmla="*/ 0 h 198"/>
                            <a:gd name="T40" fmla="*/ 0 w 588"/>
                            <a:gd name="T41" fmla="*/ 0 h 198"/>
                            <a:gd name="T42" fmla="*/ 0 w 588"/>
                            <a:gd name="T43" fmla="*/ 0 h 198"/>
                            <a:gd name="T44" fmla="*/ 0 w 588"/>
                            <a:gd name="T45" fmla="*/ 0 h 198"/>
                            <a:gd name="T46" fmla="*/ 0 60000 65536"/>
                            <a:gd name="T47" fmla="*/ 0 60000 65536"/>
                            <a:gd name="T48" fmla="*/ 0 60000 65536"/>
                            <a:gd name="T49" fmla="*/ 0 60000 65536"/>
                            <a:gd name="T50" fmla="*/ 0 60000 65536"/>
                            <a:gd name="T51" fmla="*/ 0 60000 65536"/>
                            <a:gd name="T52" fmla="*/ 0 60000 65536"/>
                            <a:gd name="T53" fmla="*/ 0 60000 65536"/>
                            <a:gd name="T54" fmla="*/ 0 60000 65536"/>
                            <a:gd name="T55" fmla="*/ 0 60000 65536"/>
                            <a:gd name="T56" fmla="*/ 0 60000 65536"/>
                            <a:gd name="T57" fmla="*/ 0 60000 65536"/>
                            <a:gd name="T58" fmla="*/ 0 60000 65536"/>
                            <a:gd name="T59" fmla="*/ 0 60000 65536"/>
                            <a:gd name="T60" fmla="*/ 0 60000 65536"/>
                            <a:gd name="T61" fmla="*/ 0 60000 65536"/>
                            <a:gd name="T62" fmla="*/ 0 60000 65536"/>
                            <a:gd name="T63" fmla="*/ 0 60000 65536"/>
                            <a:gd name="T64" fmla="*/ 0 60000 65536"/>
                            <a:gd name="T65" fmla="*/ 0 60000 65536"/>
                            <a:gd name="T66" fmla="*/ 0 60000 65536"/>
                            <a:gd name="T67" fmla="*/ 0 60000 65536"/>
                            <a:gd name="T68" fmla="*/ 0 60000 65536"/>
                            <a:gd name="T69" fmla="*/ 0 w 588"/>
                            <a:gd name="T70" fmla="*/ 0 h 198"/>
                            <a:gd name="T71" fmla="*/ 588 w 588"/>
                            <a:gd name="T72" fmla="*/ 198 h 198"/>
                          </a:gdLst>
                          <a:ahLst/>
                          <a:cxnLst>
                            <a:cxn ang="T46">
                              <a:pos x="T0" y="T1"/>
                            </a:cxn>
                            <a:cxn ang="T47">
                              <a:pos x="T2" y="T3"/>
                            </a:cxn>
                            <a:cxn ang="T48">
                              <a:pos x="T4" y="T5"/>
                            </a:cxn>
                            <a:cxn ang="T49">
                              <a:pos x="T6" y="T7"/>
                            </a:cxn>
                            <a:cxn ang="T50">
                              <a:pos x="T8" y="T9"/>
                            </a:cxn>
                            <a:cxn ang="T51">
                              <a:pos x="T10" y="T11"/>
                            </a:cxn>
                            <a:cxn ang="T52">
                              <a:pos x="T12" y="T13"/>
                            </a:cxn>
                            <a:cxn ang="T53">
                              <a:pos x="T14" y="T15"/>
                            </a:cxn>
                            <a:cxn ang="T54">
                              <a:pos x="T16" y="T17"/>
                            </a:cxn>
                            <a:cxn ang="T55">
                              <a:pos x="T18" y="T19"/>
                            </a:cxn>
                            <a:cxn ang="T56">
                              <a:pos x="T20" y="T21"/>
                            </a:cxn>
                            <a:cxn ang="T57">
                              <a:pos x="T22" y="T23"/>
                            </a:cxn>
                            <a:cxn ang="T58">
                              <a:pos x="T24" y="T25"/>
                            </a:cxn>
                            <a:cxn ang="T59">
                              <a:pos x="T26" y="T27"/>
                            </a:cxn>
                            <a:cxn ang="T60">
                              <a:pos x="T28" y="T29"/>
                            </a:cxn>
                            <a:cxn ang="T61">
                              <a:pos x="T30" y="T31"/>
                            </a:cxn>
                            <a:cxn ang="T62">
                              <a:pos x="T32" y="T33"/>
                            </a:cxn>
                            <a:cxn ang="T63">
                              <a:pos x="T34" y="T35"/>
                            </a:cxn>
                            <a:cxn ang="T64">
                              <a:pos x="T36" y="T37"/>
                            </a:cxn>
                            <a:cxn ang="T65">
                              <a:pos x="T38" y="T39"/>
                            </a:cxn>
                            <a:cxn ang="T66">
                              <a:pos x="T40" y="T41"/>
                            </a:cxn>
                            <a:cxn ang="T67">
                              <a:pos x="T42" y="T43"/>
                            </a:cxn>
                            <a:cxn ang="T68">
                              <a:pos x="T44" y="T45"/>
                            </a:cxn>
                          </a:cxnLst>
                          <a:rect l="T69" t="T70" r="T71" b="T72"/>
                          <a:pathLst>
                            <a:path w="588" h="198">
                              <a:moveTo>
                                <a:pt x="64" y="0"/>
                              </a:moveTo>
                              <a:lnTo>
                                <a:pt x="27" y="40"/>
                              </a:lnTo>
                              <a:lnTo>
                                <a:pt x="13" y="83"/>
                              </a:lnTo>
                              <a:lnTo>
                                <a:pt x="0" y="136"/>
                              </a:lnTo>
                              <a:lnTo>
                                <a:pt x="93" y="163"/>
                              </a:lnTo>
                              <a:lnTo>
                                <a:pt x="149" y="154"/>
                              </a:lnTo>
                              <a:lnTo>
                                <a:pt x="172" y="129"/>
                              </a:lnTo>
                              <a:lnTo>
                                <a:pt x="224" y="159"/>
                              </a:lnTo>
                              <a:lnTo>
                                <a:pt x="340" y="181"/>
                              </a:lnTo>
                              <a:lnTo>
                                <a:pt x="449" y="194"/>
                              </a:lnTo>
                              <a:lnTo>
                                <a:pt x="505" y="198"/>
                              </a:lnTo>
                              <a:lnTo>
                                <a:pt x="561" y="181"/>
                              </a:lnTo>
                              <a:lnTo>
                                <a:pt x="584" y="159"/>
                              </a:lnTo>
                              <a:lnTo>
                                <a:pt x="588" y="120"/>
                              </a:lnTo>
                              <a:lnTo>
                                <a:pt x="580" y="80"/>
                              </a:lnTo>
                              <a:lnTo>
                                <a:pt x="561" y="62"/>
                              </a:lnTo>
                              <a:lnTo>
                                <a:pt x="515" y="40"/>
                              </a:lnTo>
                              <a:lnTo>
                                <a:pt x="443" y="35"/>
                              </a:lnTo>
                              <a:lnTo>
                                <a:pt x="359" y="35"/>
                              </a:lnTo>
                              <a:lnTo>
                                <a:pt x="298" y="44"/>
                              </a:lnTo>
                              <a:lnTo>
                                <a:pt x="251" y="44"/>
                              </a:lnTo>
                              <a:lnTo>
                                <a:pt x="182" y="35"/>
                              </a:lnTo>
                              <a:lnTo>
                                <a:pt x="64" y="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402000"/>
                        </a:solidFill>
                        <a:ln w="1588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endParaRPr lang="id-ID"/>
                        </a:p>
                      </p:txBody>
                    </p:sp>
                  </p:grpSp>
                  <p:grpSp>
                    <p:nvGrpSpPr>
                      <p:cNvPr id="131" name="Group 1697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569" y="1420"/>
                        <a:ext cx="56" cy="65"/>
                        <a:chOff x="569" y="1420"/>
                        <a:chExt cx="56" cy="65"/>
                      </a:xfrm>
                    </p:grpSpPr>
                    <p:sp>
                      <p:nvSpPr>
                        <p:cNvPr id="132" name="Freeform 1698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573" y="1420"/>
                          <a:ext cx="52" cy="53"/>
                        </a:xfrm>
                        <a:custGeom>
                          <a:avLst/>
                          <a:gdLst>
                            <a:gd name="T0" fmla="*/ 0 w 739"/>
                            <a:gd name="T1" fmla="*/ 0 h 696"/>
                            <a:gd name="T2" fmla="*/ 0 w 739"/>
                            <a:gd name="T3" fmla="*/ 0 h 696"/>
                            <a:gd name="T4" fmla="*/ 0 w 739"/>
                            <a:gd name="T5" fmla="*/ 0 h 696"/>
                            <a:gd name="T6" fmla="*/ 0 w 739"/>
                            <a:gd name="T7" fmla="*/ 0 h 696"/>
                            <a:gd name="T8" fmla="*/ 0 w 739"/>
                            <a:gd name="T9" fmla="*/ 0 h 696"/>
                            <a:gd name="T10" fmla="*/ 0 w 739"/>
                            <a:gd name="T11" fmla="*/ 0 h 696"/>
                            <a:gd name="T12" fmla="*/ 0 w 739"/>
                            <a:gd name="T13" fmla="*/ 0 h 696"/>
                            <a:gd name="T14" fmla="*/ 0 w 739"/>
                            <a:gd name="T15" fmla="*/ 0 h 696"/>
                            <a:gd name="T16" fmla="*/ 0 w 739"/>
                            <a:gd name="T17" fmla="*/ 0 h 696"/>
                            <a:gd name="T18" fmla="*/ 0 w 739"/>
                            <a:gd name="T19" fmla="*/ 0 h 696"/>
                            <a:gd name="T20" fmla="*/ 0 w 739"/>
                            <a:gd name="T21" fmla="*/ 0 h 696"/>
                            <a:gd name="T22" fmla="*/ 0 w 739"/>
                            <a:gd name="T23" fmla="*/ 0 h 696"/>
                            <a:gd name="T24" fmla="*/ 0 w 739"/>
                            <a:gd name="T25" fmla="*/ 0 h 696"/>
                            <a:gd name="T26" fmla="*/ 0 w 739"/>
                            <a:gd name="T27" fmla="*/ 0 h 696"/>
                            <a:gd name="T28" fmla="*/ 0 w 739"/>
                            <a:gd name="T29" fmla="*/ 0 h 696"/>
                            <a:gd name="T30" fmla="*/ 0 w 739"/>
                            <a:gd name="T31" fmla="*/ 0 h 696"/>
                            <a:gd name="T32" fmla="*/ 0 w 739"/>
                            <a:gd name="T33" fmla="*/ 0 h 696"/>
                            <a:gd name="T34" fmla="*/ 0 w 739"/>
                            <a:gd name="T35" fmla="*/ 0 h 696"/>
                            <a:gd name="T36" fmla="*/ 0 w 739"/>
                            <a:gd name="T37" fmla="*/ 0 h 696"/>
                            <a:gd name="T38" fmla="*/ 0 w 739"/>
                            <a:gd name="T39" fmla="*/ 0 h 696"/>
                            <a:gd name="T40" fmla="*/ 0 w 739"/>
                            <a:gd name="T41" fmla="*/ 0 h 696"/>
                            <a:gd name="T42" fmla="*/ 0 w 739"/>
                            <a:gd name="T43" fmla="*/ 0 h 696"/>
                            <a:gd name="T44" fmla="*/ 0 w 739"/>
                            <a:gd name="T45" fmla="*/ 0 h 696"/>
                            <a:gd name="T46" fmla="*/ 0 60000 65536"/>
                            <a:gd name="T47" fmla="*/ 0 60000 65536"/>
                            <a:gd name="T48" fmla="*/ 0 60000 65536"/>
                            <a:gd name="T49" fmla="*/ 0 60000 65536"/>
                            <a:gd name="T50" fmla="*/ 0 60000 65536"/>
                            <a:gd name="T51" fmla="*/ 0 60000 65536"/>
                            <a:gd name="T52" fmla="*/ 0 60000 65536"/>
                            <a:gd name="T53" fmla="*/ 0 60000 65536"/>
                            <a:gd name="T54" fmla="*/ 0 60000 65536"/>
                            <a:gd name="T55" fmla="*/ 0 60000 65536"/>
                            <a:gd name="T56" fmla="*/ 0 60000 65536"/>
                            <a:gd name="T57" fmla="*/ 0 60000 65536"/>
                            <a:gd name="T58" fmla="*/ 0 60000 65536"/>
                            <a:gd name="T59" fmla="*/ 0 60000 65536"/>
                            <a:gd name="T60" fmla="*/ 0 60000 65536"/>
                            <a:gd name="T61" fmla="*/ 0 60000 65536"/>
                            <a:gd name="T62" fmla="*/ 0 60000 65536"/>
                            <a:gd name="T63" fmla="*/ 0 60000 65536"/>
                            <a:gd name="T64" fmla="*/ 0 60000 65536"/>
                            <a:gd name="T65" fmla="*/ 0 60000 65536"/>
                            <a:gd name="T66" fmla="*/ 0 60000 65536"/>
                            <a:gd name="T67" fmla="*/ 0 60000 65536"/>
                            <a:gd name="T68" fmla="*/ 0 60000 65536"/>
                            <a:gd name="T69" fmla="*/ 0 w 739"/>
                            <a:gd name="T70" fmla="*/ 0 h 696"/>
                            <a:gd name="T71" fmla="*/ 739 w 739"/>
                            <a:gd name="T72" fmla="*/ 696 h 696"/>
                          </a:gdLst>
                          <a:ahLst/>
                          <a:cxnLst>
                            <a:cxn ang="T46">
                              <a:pos x="T0" y="T1"/>
                            </a:cxn>
                            <a:cxn ang="T47">
                              <a:pos x="T2" y="T3"/>
                            </a:cxn>
                            <a:cxn ang="T48">
                              <a:pos x="T4" y="T5"/>
                            </a:cxn>
                            <a:cxn ang="T49">
                              <a:pos x="T6" y="T7"/>
                            </a:cxn>
                            <a:cxn ang="T50">
                              <a:pos x="T8" y="T9"/>
                            </a:cxn>
                            <a:cxn ang="T51">
                              <a:pos x="T10" y="T11"/>
                            </a:cxn>
                            <a:cxn ang="T52">
                              <a:pos x="T12" y="T13"/>
                            </a:cxn>
                            <a:cxn ang="T53">
                              <a:pos x="T14" y="T15"/>
                            </a:cxn>
                            <a:cxn ang="T54">
                              <a:pos x="T16" y="T17"/>
                            </a:cxn>
                            <a:cxn ang="T55">
                              <a:pos x="T18" y="T19"/>
                            </a:cxn>
                            <a:cxn ang="T56">
                              <a:pos x="T20" y="T21"/>
                            </a:cxn>
                            <a:cxn ang="T57">
                              <a:pos x="T22" y="T23"/>
                            </a:cxn>
                            <a:cxn ang="T58">
                              <a:pos x="T24" y="T25"/>
                            </a:cxn>
                            <a:cxn ang="T59">
                              <a:pos x="T26" y="T27"/>
                            </a:cxn>
                            <a:cxn ang="T60">
                              <a:pos x="T28" y="T29"/>
                            </a:cxn>
                            <a:cxn ang="T61">
                              <a:pos x="T30" y="T31"/>
                            </a:cxn>
                            <a:cxn ang="T62">
                              <a:pos x="T32" y="T33"/>
                            </a:cxn>
                            <a:cxn ang="T63">
                              <a:pos x="T34" y="T35"/>
                            </a:cxn>
                            <a:cxn ang="T64">
                              <a:pos x="T36" y="T37"/>
                            </a:cxn>
                            <a:cxn ang="T65">
                              <a:pos x="T38" y="T39"/>
                            </a:cxn>
                            <a:cxn ang="T66">
                              <a:pos x="T40" y="T41"/>
                            </a:cxn>
                            <a:cxn ang="T67">
                              <a:pos x="T42" y="T43"/>
                            </a:cxn>
                            <a:cxn ang="T68">
                              <a:pos x="T44" y="T45"/>
                            </a:cxn>
                          </a:cxnLst>
                          <a:rect l="T69" t="T70" r="T71" b="T72"/>
                          <a:pathLst>
                            <a:path w="739" h="696">
                              <a:moveTo>
                                <a:pt x="425" y="56"/>
                              </a:moveTo>
                              <a:lnTo>
                                <a:pt x="380" y="113"/>
                              </a:lnTo>
                              <a:lnTo>
                                <a:pt x="355" y="179"/>
                              </a:lnTo>
                              <a:lnTo>
                                <a:pt x="350" y="225"/>
                              </a:lnTo>
                              <a:lnTo>
                                <a:pt x="241" y="334"/>
                              </a:lnTo>
                              <a:lnTo>
                                <a:pt x="129" y="453"/>
                              </a:lnTo>
                              <a:lnTo>
                                <a:pt x="65" y="556"/>
                              </a:lnTo>
                              <a:lnTo>
                                <a:pt x="5" y="617"/>
                              </a:lnTo>
                              <a:lnTo>
                                <a:pt x="0" y="653"/>
                              </a:lnTo>
                              <a:lnTo>
                                <a:pt x="105" y="687"/>
                              </a:lnTo>
                              <a:lnTo>
                                <a:pt x="220" y="696"/>
                              </a:lnTo>
                              <a:lnTo>
                                <a:pt x="295" y="612"/>
                              </a:lnTo>
                              <a:lnTo>
                                <a:pt x="400" y="509"/>
                              </a:lnTo>
                              <a:lnTo>
                                <a:pt x="460" y="489"/>
                              </a:lnTo>
                              <a:lnTo>
                                <a:pt x="495" y="390"/>
                              </a:lnTo>
                              <a:lnTo>
                                <a:pt x="555" y="311"/>
                              </a:lnTo>
                              <a:lnTo>
                                <a:pt x="663" y="236"/>
                              </a:lnTo>
                              <a:lnTo>
                                <a:pt x="739" y="147"/>
                              </a:lnTo>
                              <a:lnTo>
                                <a:pt x="645" y="113"/>
                              </a:lnTo>
                              <a:lnTo>
                                <a:pt x="570" y="80"/>
                              </a:lnTo>
                              <a:lnTo>
                                <a:pt x="530" y="28"/>
                              </a:lnTo>
                              <a:lnTo>
                                <a:pt x="490" y="0"/>
                              </a:lnTo>
                              <a:lnTo>
                                <a:pt x="425" y="56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A0A0A0"/>
                        </a:solidFill>
                        <a:ln w="1588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endParaRPr lang="id-ID"/>
                        </a:p>
                      </p:txBody>
                    </p:sp>
                    <p:sp>
                      <p:nvSpPr>
                        <p:cNvPr id="133" name="Freeform 1699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569" y="1469"/>
                          <a:ext cx="45" cy="16"/>
                        </a:xfrm>
                        <a:custGeom>
                          <a:avLst/>
                          <a:gdLst>
                            <a:gd name="T0" fmla="*/ 0 w 631"/>
                            <a:gd name="T1" fmla="*/ 0 h 211"/>
                            <a:gd name="T2" fmla="*/ 0 w 631"/>
                            <a:gd name="T3" fmla="*/ 0 h 211"/>
                            <a:gd name="T4" fmla="*/ 0 w 631"/>
                            <a:gd name="T5" fmla="*/ 0 h 211"/>
                            <a:gd name="T6" fmla="*/ 0 w 631"/>
                            <a:gd name="T7" fmla="*/ 0 h 211"/>
                            <a:gd name="T8" fmla="*/ 0 w 631"/>
                            <a:gd name="T9" fmla="*/ 0 h 211"/>
                            <a:gd name="T10" fmla="*/ 0 w 631"/>
                            <a:gd name="T11" fmla="*/ 0 h 211"/>
                            <a:gd name="T12" fmla="*/ 0 w 631"/>
                            <a:gd name="T13" fmla="*/ 0 h 211"/>
                            <a:gd name="T14" fmla="*/ 0 w 631"/>
                            <a:gd name="T15" fmla="*/ 0 h 211"/>
                            <a:gd name="T16" fmla="*/ 0 w 631"/>
                            <a:gd name="T17" fmla="*/ 0 h 211"/>
                            <a:gd name="T18" fmla="*/ 0 w 631"/>
                            <a:gd name="T19" fmla="*/ 0 h 211"/>
                            <a:gd name="T20" fmla="*/ 0 w 631"/>
                            <a:gd name="T21" fmla="*/ 0 h 211"/>
                            <a:gd name="T22" fmla="*/ 0 w 631"/>
                            <a:gd name="T23" fmla="*/ 0 h 211"/>
                            <a:gd name="T24" fmla="*/ 0 w 631"/>
                            <a:gd name="T25" fmla="*/ 0 h 211"/>
                            <a:gd name="T26" fmla="*/ 0 w 631"/>
                            <a:gd name="T27" fmla="*/ 0 h 211"/>
                            <a:gd name="T28" fmla="*/ 0 w 631"/>
                            <a:gd name="T29" fmla="*/ 0 h 211"/>
                            <a:gd name="T30" fmla="*/ 0 w 631"/>
                            <a:gd name="T31" fmla="*/ 0 h 211"/>
                            <a:gd name="T32" fmla="*/ 0 w 631"/>
                            <a:gd name="T33" fmla="*/ 0 h 211"/>
                            <a:gd name="T34" fmla="*/ 0 w 631"/>
                            <a:gd name="T35" fmla="*/ 0 h 211"/>
                            <a:gd name="T36" fmla="*/ 0 w 631"/>
                            <a:gd name="T37" fmla="*/ 0 h 211"/>
                            <a:gd name="T38" fmla="*/ 0 w 631"/>
                            <a:gd name="T39" fmla="*/ 0 h 211"/>
                            <a:gd name="T40" fmla="*/ 0 w 631"/>
                            <a:gd name="T41" fmla="*/ 0 h 211"/>
                            <a:gd name="T42" fmla="*/ 0 w 631"/>
                            <a:gd name="T43" fmla="*/ 0 h 211"/>
                            <a:gd name="T44" fmla="*/ 0 w 631"/>
                            <a:gd name="T45" fmla="*/ 0 h 211"/>
                            <a:gd name="T46" fmla="*/ 0 60000 65536"/>
                            <a:gd name="T47" fmla="*/ 0 60000 65536"/>
                            <a:gd name="T48" fmla="*/ 0 60000 65536"/>
                            <a:gd name="T49" fmla="*/ 0 60000 65536"/>
                            <a:gd name="T50" fmla="*/ 0 60000 65536"/>
                            <a:gd name="T51" fmla="*/ 0 60000 65536"/>
                            <a:gd name="T52" fmla="*/ 0 60000 65536"/>
                            <a:gd name="T53" fmla="*/ 0 60000 65536"/>
                            <a:gd name="T54" fmla="*/ 0 60000 65536"/>
                            <a:gd name="T55" fmla="*/ 0 60000 65536"/>
                            <a:gd name="T56" fmla="*/ 0 60000 65536"/>
                            <a:gd name="T57" fmla="*/ 0 60000 65536"/>
                            <a:gd name="T58" fmla="*/ 0 60000 65536"/>
                            <a:gd name="T59" fmla="*/ 0 60000 65536"/>
                            <a:gd name="T60" fmla="*/ 0 60000 65536"/>
                            <a:gd name="T61" fmla="*/ 0 60000 65536"/>
                            <a:gd name="T62" fmla="*/ 0 60000 65536"/>
                            <a:gd name="T63" fmla="*/ 0 60000 65536"/>
                            <a:gd name="T64" fmla="*/ 0 60000 65536"/>
                            <a:gd name="T65" fmla="*/ 0 60000 65536"/>
                            <a:gd name="T66" fmla="*/ 0 60000 65536"/>
                            <a:gd name="T67" fmla="*/ 0 60000 65536"/>
                            <a:gd name="T68" fmla="*/ 0 60000 65536"/>
                            <a:gd name="T69" fmla="*/ 0 w 631"/>
                            <a:gd name="T70" fmla="*/ 0 h 211"/>
                            <a:gd name="T71" fmla="*/ 631 w 631"/>
                            <a:gd name="T72" fmla="*/ 211 h 211"/>
                          </a:gdLst>
                          <a:ahLst/>
                          <a:cxnLst>
                            <a:cxn ang="T46">
                              <a:pos x="T0" y="T1"/>
                            </a:cxn>
                            <a:cxn ang="T47">
                              <a:pos x="T2" y="T3"/>
                            </a:cxn>
                            <a:cxn ang="T48">
                              <a:pos x="T4" y="T5"/>
                            </a:cxn>
                            <a:cxn ang="T49">
                              <a:pos x="T6" y="T7"/>
                            </a:cxn>
                            <a:cxn ang="T50">
                              <a:pos x="T8" y="T9"/>
                            </a:cxn>
                            <a:cxn ang="T51">
                              <a:pos x="T10" y="T11"/>
                            </a:cxn>
                            <a:cxn ang="T52">
                              <a:pos x="T12" y="T13"/>
                            </a:cxn>
                            <a:cxn ang="T53">
                              <a:pos x="T14" y="T15"/>
                            </a:cxn>
                            <a:cxn ang="T54">
                              <a:pos x="T16" y="T17"/>
                            </a:cxn>
                            <a:cxn ang="T55">
                              <a:pos x="T18" y="T19"/>
                            </a:cxn>
                            <a:cxn ang="T56">
                              <a:pos x="T20" y="T21"/>
                            </a:cxn>
                            <a:cxn ang="T57">
                              <a:pos x="T22" y="T23"/>
                            </a:cxn>
                            <a:cxn ang="T58">
                              <a:pos x="T24" y="T25"/>
                            </a:cxn>
                            <a:cxn ang="T59">
                              <a:pos x="T26" y="T27"/>
                            </a:cxn>
                            <a:cxn ang="T60">
                              <a:pos x="T28" y="T29"/>
                            </a:cxn>
                            <a:cxn ang="T61">
                              <a:pos x="T30" y="T31"/>
                            </a:cxn>
                            <a:cxn ang="T62">
                              <a:pos x="T32" y="T33"/>
                            </a:cxn>
                            <a:cxn ang="T63">
                              <a:pos x="T34" y="T35"/>
                            </a:cxn>
                            <a:cxn ang="T64">
                              <a:pos x="T36" y="T37"/>
                            </a:cxn>
                            <a:cxn ang="T65">
                              <a:pos x="T38" y="T39"/>
                            </a:cxn>
                            <a:cxn ang="T66">
                              <a:pos x="T40" y="T41"/>
                            </a:cxn>
                            <a:cxn ang="T67">
                              <a:pos x="T42" y="T43"/>
                            </a:cxn>
                            <a:cxn ang="T68">
                              <a:pos x="T44" y="T45"/>
                            </a:cxn>
                          </a:cxnLst>
                          <a:rect l="T69" t="T70" r="T71" b="T72"/>
                          <a:pathLst>
                            <a:path w="631" h="211">
                              <a:moveTo>
                                <a:pt x="70" y="0"/>
                              </a:moveTo>
                              <a:lnTo>
                                <a:pt x="29" y="41"/>
                              </a:lnTo>
                              <a:lnTo>
                                <a:pt x="15" y="89"/>
                              </a:lnTo>
                              <a:lnTo>
                                <a:pt x="0" y="146"/>
                              </a:lnTo>
                              <a:lnTo>
                                <a:pt x="100" y="174"/>
                              </a:lnTo>
                              <a:lnTo>
                                <a:pt x="160" y="165"/>
                              </a:lnTo>
                              <a:lnTo>
                                <a:pt x="184" y="136"/>
                              </a:lnTo>
                              <a:lnTo>
                                <a:pt x="241" y="169"/>
                              </a:lnTo>
                              <a:lnTo>
                                <a:pt x="364" y="193"/>
                              </a:lnTo>
                              <a:lnTo>
                                <a:pt x="480" y="206"/>
                              </a:lnTo>
                              <a:lnTo>
                                <a:pt x="540" y="211"/>
                              </a:lnTo>
                              <a:lnTo>
                                <a:pt x="601" y="193"/>
                              </a:lnTo>
                              <a:lnTo>
                                <a:pt x="625" y="169"/>
                              </a:lnTo>
                              <a:lnTo>
                                <a:pt x="631" y="126"/>
                              </a:lnTo>
                              <a:lnTo>
                                <a:pt x="620" y="84"/>
                              </a:lnTo>
                              <a:lnTo>
                                <a:pt x="601" y="65"/>
                              </a:lnTo>
                              <a:lnTo>
                                <a:pt x="550" y="41"/>
                              </a:lnTo>
                              <a:lnTo>
                                <a:pt x="475" y="37"/>
                              </a:lnTo>
                              <a:lnTo>
                                <a:pt x="384" y="37"/>
                              </a:lnTo>
                              <a:lnTo>
                                <a:pt x="320" y="47"/>
                              </a:lnTo>
                              <a:lnTo>
                                <a:pt x="270" y="47"/>
                              </a:lnTo>
                              <a:lnTo>
                                <a:pt x="195" y="37"/>
                              </a:lnTo>
                              <a:lnTo>
                                <a:pt x="70" y="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603000"/>
                        </a:solidFill>
                        <a:ln w="1588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endParaRPr lang="id-ID"/>
                        </a:p>
                      </p:txBody>
                    </p:sp>
                  </p:grpSp>
                </p:grpSp>
                <p:sp>
                  <p:nvSpPr>
                    <p:cNvPr id="108" name="Freeform 1700"/>
                    <p:cNvSpPr>
                      <a:spLocks/>
                    </p:cNvSpPr>
                    <p:nvPr/>
                  </p:nvSpPr>
                  <p:spPr bwMode="auto">
                    <a:xfrm>
                      <a:off x="598" y="1376"/>
                      <a:ext cx="73" cy="67"/>
                    </a:xfrm>
                    <a:custGeom>
                      <a:avLst/>
                      <a:gdLst>
                        <a:gd name="T0" fmla="*/ 0 w 1017"/>
                        <a:gd name="T1" fmla="*/ 0 h 865"/>
                        <a:gd name="T2" fmla="*/ 0 w 1017"/>
                        <a:gd name="T3" fmla="*/ 0 h 865"/>
                        <a:gd name="T4" fmla="*/ 0 w 1017"/>
                        <a:gd name="T5" fmla="*/ 0 h 865"/>
                        <a:gd name="T6" fmla="*/ 0 w 1017"/>
                        <a:gd name="T7" fmla="*/ 0 h 865"/>
                        <a:gd name="T8" fmla="*/ 0 w 1017"/>
                        <a:gd name="T9" fmla="*/ 0 h 865"/>
                        <a:gd name="T10" fmla="*/ 0 w 1017"/>
                        <a:gd name="T11" fmla="*/ 0 h 865"/>
                        <a:gd name="T12" fmla="*/ 0 w 1017"/>
                        <a:gd name="T13" fmla="*/ 0 h 865"/>
                        <a:gd name="T14" fmla="*/ 0 w 1017"/>
                        <a:gd name="T15" fmla="*/ 0 h 865"/>
                        <a:gd name="T16" fmla="*/ 0 w 1017"/>
                        <a:gd name="T17" fmla="*/ 0 h 865"/>
                        <a:gd name="T18" fmla="*/ 0 w 1017"/>
                        <a:gd name="T19" fmla="*/ 0 h 865"/>
                        <a:gd name="T20" fmla="*/ 0 w 1017"/>
                        <a:gd name="T21" fmla="*/ 0 h 865"/>
                        <a:gd name="T22" fmla="*/ 0 w 1017"/>
                        <a:gd name="T23" fmla="*/ 0 h 865"/>
                        <a:gd name="T24" fmla="*/ 0 w 1017"/>
                        <a:gd name="T25" fmla="*/ 0 h 865"/>
                        <a:gd name="T26" fmla="*/ 0 w 1017"/>
                        <a:gd name="T27" fmla="*/ 0 h 865"/>
                        <a:gd name="T28" fmla="*/ 0 w 1017"/>
                        <a:gd name="T29" fmla="*/ 0 h 865"/>
                        <a:gd name="T30" fmla="*/ 0 w 1017"/>
                        <a:gd name="T31" fmla="*/ 0 h 865"/>
                        <a:gd name="T32" fmla="*/ 0 w 1017"/>
                        <a:gd name="T33" fmla="*/ 0 h 865"/>
                        <a:gd name="T34" fmla="*/ 0 w 1017"/>
                        <a:gd name="T35" fmla="*/ 0 h 865"/>
                        <a:gd name="T36" fmla="*/ 0 w 1017"/>
                        <a:gd name="T37" fmla="*/ 0 h 865"/>
                        <a:gd name="T38" fmla="*/ 0 w 1017"/>
                        <a:gd name="T39" fmla="*/ 0 h 865"/>
                        <a:gd name="T40" fmla="*/ 0 w 1017"/>
                        <a:gd name="T41" fmla="*/ 0 h 865"/>
                        <a:gd name="T42" fmla="*/ 0 w 1017"/>
                        <a:gd name="T43" fmla="*/ 0 h 865"/>
                        <a:gd name="T44" fmla="*/ 0 w 1017"/>
                        <a:gd name="T45" fmla="*/ 0 h 865"/>
                        <a:gd name="T46" fmla="*/ 0 w 1017"/>
                        <a:gd name="T47" fmla="*/ 0 h 865"/>
                        <a:gd name="T48" fmla="*/ 0 w 1017"/>
                        <a:gd name="T49" fmla="*/ 0 h 865"/>
                        <a:gd name="T50" fmla="*/ 0 w 1017"/>
                        <a:gd name="T51" fmla="*/ 0 h 865"/>
                        <a:gd name="T52" fmla="*/ 0 w 1017"/>
                        <a:gd name="T53" fmla="*/ 0 h 865"/>
                        <a:gd name="T54" fmla="*/ 0 w 1017"/>
                        <a:gd name="T55" fmla="*/ 0 h 865"/>
                        <a:gd name="T56" fmla="*/ 0 w 1017"/>
                        <a:gd name="T57" fmla="*/ 0 h 865"/>
                        <a:gd name="T58" fmla="*/ 0 w 1017"/>
                        <a:gd name="T59" fmla="*/ 0 h 865"/>
                        <a:gd name="T60" fmla="*/ 0 w 1017"/>
                        <a:gd name="T61" fmla="*/ 0 h 865"/>
                        <a:gd name="T62" fmla="*/ 0 w 1017"/>
                        <a:gd name="T63" fmla="*/ 0 h 865"/>
                        <a:gd name="T64" fmla="*/ 0 w 1017"/>
                        <a:gd name="T65" fmla="*/ 0 h 865"/>
                        <a:gd name="T66" fmla="*/ 0 w 1017"/>
                        <a:gd name="T67" fmla="*/ 0 h 865"/>
                        <a:gd name="T68" fmla="*/ 0 w 1017"/>
                        <a:gd name="T69" fmla="*/ 0 h 865"/>
                        <a:gd name="T70" fmla="*/ 0 w 1017"/>
                        <a:gd name="T71" fmla="*/ 0 h 865"/>
                        <a:gd name="T72" fmla="*/ 0 w 1017"/>
                        <a:gd name="T73" fmla="*/ 0 h 865"/>
                        <a:gd name="T74" fmla="*/ 0 w 1017"/>
                        <a:gd name="T75" fmla="*/ 0 h 865"/>
                        <a:gd name="T76" fmla="*/ 0 w 1017"/>
                        <a:gd name="T77" fmla="*/ 0 h 865"/>
                        <a:gd name="T78" fmla="*/ 0 w 1017"/>
                        <a:gd name="T79" fmla="*/ 0 h 865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w 1017"/>
                        <a:gd name="T121" fmla="*/ 0 h 865"/>
                        <a:gd name="T122" fmla="*/ 1017 w 1017"/>
                        <a:gd name="T123" fmla="*/ 865 h 865"/>
                      </a:gdLst>
                      <a:ahLst/>
                      <a:cxnLst>
                        <a:cxn ang="T80">
                          <a:pos x="T0" y="T1"/>
                        </a:cxn>
                        <a:cxn ang="T81">
                          <a:pos x="T2" y="T3"/>
                        </a:cxn>
                        <a:cxn ang="T82">
                          <a:pos x="T4" y="T5"/>
                        </a:cxn>
                        <a:cxn ang="T83">
                          <a:pos x="T6" y="T7"/>
                        </a:cxn>
                        <a:cxn ang="T84">
                          <a:pos x="T8" y="T9"/>
                        </a:cxn>
                        <a:cxn ang="T85">
                          <a:pos x="T10" y="T11"/>
                        </a:cxn>
                        <a:cxn ang="T86">
                          <a:pos x="T12" y="T13"/>
                        </a:cxn>
                        <a:cxn ang="T87">
                          <a:pos x="T14" y="T15"/>
                        </a:cxn>
                        <a:cxn ang="T88">
                          <a:pos x="T16" y="T17"/>
                        </a:cxn>
                        <a:cxn ang="T89">
                          <a:pos x="T18" y="T19"/>
                        </a:cxn>
                        <a:cxn ang="T90">
                          <a:pos x="T20" y="T21"/>
                        </a:cxn>
                        <a:cxn ang="T91">
                          <a:pos x="T22" y="T23"/>
                        </a:cxn>
                        <a:cxn ang="T92">
                          <a:pos x="T24" y="T25"/>
                        </a:cxn>
                        <a:cxn ang="T93">
                          <a:pos x="T26" y="T27"/>
                        </a:cxn>
                        <a:cxn ang="T94">
                          <a:pos x="T28" y="T29"/>
                        </a:cxn>
                        <a:cxn ang="T95">
                          <a:pos x="T30" y="T31"/>
                        </a:cxn>
                        <a:cxn ang="T96">
                          <a:pos x="T32" y="T33"/>
                        </a:cxn>
                        <a:cxn ang="T97">
                          <a:pos x="T34" y="T35"/>
                        </a:cxn>
                        <a:cxn ang="T98">
                          <a:pos x="T36" y="T37"/>
                        </a:cxn>
                        <a:cxn ang="T99">
                          <a:pos x="T38" y="T39"/>
                        </a:cxn>
                        <a:cxn ang="T100">
                          <a:pos x="T40" y="T41"/>
                        </a:cxn>
                        <a:cxn ang="T101">
                          <a:pos x="T42" y="T43"/>
                        </a:cxn>
                        <a:cxn ang="T102">
                          <a:pos x="T44" y="T45"/>
                        </a:cxn>
                        <a:cxn ang="T103">
                          <a:pos x="T46" y="T47"/>
                        </a:cxn>
                        <a:cxn ang="T104">
                          <a:pos x="T48" y="T49"/>
                        </a:cxn>
                        <a:cxn ang="T105">
                          <a:pos x="T50" y="T51"/>
                        </a:cxn>
                        <a:cxn ang="T106">
                          <a:pos x="T52" y="T53"/>
                        </a:cxn>
                        <a:cxn ang="T107">
                          <a:pos x="T54" y="T55"/>
                        </a:cxn>
                        <a:cxn ang="T108">
                          <a:pos x="T56" y="T57"/>
                        </a:cxn>
                        <a:cxn ang="T109">
                          <a:pos x="T58" y="T59"/>
                        </a:cxn>
                        <a:cxn ang="T110">
                          <a:pos x="T60" y="T61"/>
                        </a:cxn>
                        <a:cxn ang="T111">
                          <a:pos x="T62" y="T63"/>
                        </a:cxn>
                        <a:cxn ang="T112">
                          <a:pos x="T64" y="T65"/>
                        </a:cxn>
                        <a:cxn ang="T113">
                          <a:pos x="T66" y="T67"/>
                        </a:cxn>
                        <a:cxn ang="T114">
                          <a:pos x="T68" y="T69"/>
                        </a:cxn>
                        <a:cxn ang="T115">
                          <a:pos x="T70" y="T71"/>
                        </a:cxn>
                        <a:cxn ang="T116">
                          <a:pos x="T72" y="T73"/>
                        </a:cxn>
                        <a:cxn ang="T117">
                          <a:pos x="T74" y="T75"/>
                        </a:cxn>
                        <a:cxn ang="T118">
                          <a:pos x="T76" y="T77"/>
                        </a:cxn>
                        <a:cxn ang="T119">
                          <a:pos x="T78" y="T79"/>
                        </a:cxn>
                      </a:cxnLst>
                      <a:rect l="T120" t="T121" r="T122" b="T123"/>
                      <a:pathLst>
                        <a:path w="1017" h="865">
                          <a:moveTo>
                            <a:pt x="257" y="277"/>
                          </a:moveTo>
                          <a:lnTo>
                            <a:pt x="240" y="327"/>
                          </a:lnTo>
                          <a:lnTo>
                            <a:pt x="216" y="363"/>
                          </a:lnTo>
                          <a:lnTo>
                            <a:pt x="182" y="409"/>
                          </a:lnTo>
                          <a:lnTo>
                            <a:pt x="122" y="452"/>
                          </a:lnTo>
                          <a:lnTo>
                            <a:pt x="83" y="476"/>
                          </a:lnTo>
                          <a:lnTo>
                            <a:pt x="0" y="516"/>
                          </a:lnTo>
                          <a:lnTo>
                            <a:pt x="29" y="572"/>
                          </a:lnTo>
                          <a:lnTo>
                            <a:pt x="98" y="614"/>
                          </a:lnTo>
                          <a:lnTo>
                            <a:pt x="158" y="635"/>
                          </a:lnTo>
                          <a:lnTo>
                            <a:pt x="195" y="685"/>
                          </a:lnTo>
                          <a:lnTo>
                            <a:pt x="233" y="763"/>
                          </a:lnTo>
                          <a:lnTo>
                            <a:pt x="255" y="812"/>
                          </a:lnTo>
                          <a:lnTo>
                            <a:pt x="304" y="840"/>
                          </a:lnTo>
                          <a:lnTo>
                            <a:pt x="360" y="865"/>
                          </a:lnTo>
                          <a:lnTo>
                            <a:pt x="371" y="827"/>
                          </a:lnTo>
                          <a:lnTo>
                            <a:pt x="404" y="708"/>
                          </a:lnTo>
                          <a:lnTo>
                            <a:pt x="464" y="616"/>
                          </a:lnTo>
                          <a:lnTo>
                            <a:pt x="502" y="525"/>
                          </a:lnTo>
                          <a:lnTo>
                            <a:pt x="532" y="441"/>
                          </a:lnTo>
                          <a:lnTo>
                            <a:pt x="546" y="349"/>
                          </a:lnTo>
                          <a:lnTo>
                            <a:pt x="557" y="240"/>
                          </a:lnTo>
                          <a:lnTo>
                            <a:pt x="632" y="216"/>
                          </a:lnTo>
                          <a:lnTo>
                            <a:pt x="847" y="188"/>
                          </a:lnTo>
                          <a:lnTo>
                            <a:pt x="1006" y="150"/>
                          </a:lnTo>
                          <a:lnTo>
                            <a:pt x="1006" y="107"/>
                          </a:lnTo>
                          <a:lnTo>
                            <a:pt x="1006" y="33"/>
                          </a:lnTo>
                          <a:lnTo>
                            <a:pt x="1017" y="0"/>
                          </a:lnTo>
                          <a:lnTo>
                            <a:pt x="952" y="9"/>
                          </a:lnTo>
                          <a:lnTo>
                            <a:pt x="887" y="33"/>
                          </a:lnTo>
                          <a:lnTo>
                            <a:pt x="826" y="42"/>
                          </a:lnTo>
                          <a:lnTo>
                            <a:pt x="767" y="51"/>
                          </a:lnTo>
                          <a:lnTo>
                            <a:pt x="701" y="57"/>
                          </a:lnTo>
                          <a:lnTo>
                            <a:pt x="587" y="85"/>
                          </a:lnTo>
                          <a:lnTo>
                            <a:pt x="506" y="79"/>
                          </a:lnTo>
                          <a:lnTo>
                            <a:pt x="421" y="94"/>
                          </a:lnTo>
                          <a:lnTo>
                            <a:pt x="316" y="118"/>
                          </a:lnTo>
                          <a:lnTo>
                            <a:pt x="257" y="159"/>
                          </a:lnTo>
                          <a:lnTo>
                            <a:pt x="242" y="212"/>
                          </a:lnTo>
                          <a:lnTo>
                            <a:pt x="257" y="277"/>
                          </a:lnTo>
                          <a:close/>
                        </a:path>
                      </a:pathLst>
                    </a:custGeom>
                    <a:solidFill>
                      <a:srgbClr val="0000FF"/>
                    </a:solidFill>
                    <a:ln w="1588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id-ID"/>
                    </a:p>
                  </p:txBody>
                </p:sp>
                <p:sp>
                  <p:nvSpPr>
                    <p:cNvPr id="109" name="Freeform 1701"/>
                    <p:cNvSpPr>
                      <a:spLocks/>
                    </p:cNvSpPr>
                    <p:nvPr/>
                  </p:nvSpPr>
                  <p:spPr bwMode="auto">
                    <a:xfrm>
                      <a:off x="634" y="1390"/>
                      <a:ext cx="14" cy="39"/>
                    </a:xfrm>
                    <a:custGeom>
                      <a:avLst/>
                      <a:gdLst>
                        <a:gd name="T0" fmla="*/ 0 w 190"/>
                        <a:gd name="T1" fmla="*/ 0 h 507"/>
                        <a:gd name="T2" fmla="*/ 0 w 190"/>
                        <a:gd name="T3" fmla="*/ 0 h 507"/>
                        <a:gd name="T4" fmla="*/ 0 w 190"/>
                        <a:gd name="T5" fmla="*/ 0 h 507"/>
                        <a:gd name="T6" fmla="*/ 0 w 190"/>
                        <a:gd name="T7" fmla="*/ 0 h 507"/>
                        <a:gd name="T8" fmla="*/ 0 w 190"/>
                        <a:gd name="T9" fmla="*/ 0 h 507"/>
                        <a:gd name="T10" fmla="*/ 0 w 190"/>
                        <a:gd name="T11" fmla="*/ 0 h 507"/>
                        <a:gd name="T12" fmla="*/ 0 w 190"/>
                        <a:gd name="T13" fmla="*/ 0 h 507"/>
                        <a:gd name="T14" fmla="*/ 0 w 190"/>
                        <a:gd name="T15" fmla="*/ 0 h 507"/>
                        <a:gd name="T16" fmla="*/ 0 w 190"/>
                        <a:gd name="T17" fmla="*/ 0 h 507"/>
                        <a:gd name="T18" fmla="*/ 0 w 190"/>
                        <a:gd name="T19" fmla="*/ 0 h 507"/>
                        <a:gd name="T20" fmla="*/ 0 w 190"/>
                        <a:gd name="T21" fmla="*/ 0 h 507"/>
                        <a:gd name="T22" fmla="*/ 0 w 190"/>
                        <a:gd name="T23" fmla="*/ 0 h 507"/>
                        <a:gd name="T24" fmla="*/ 0 w 190"/>
                        <a:gd name="T25" fmla="*/ 0 h 507"/>
                        <a:gd name="T26" fmla="*/ 0 w 190"/>
                        <a:gd name="T27" fmla="*/ 0 h 507"/>
                        <a:gd name="T28" fmla="*/ 0 w 190"/>
                        <a:gd name="T29" fmla="*/ 0 h 507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w 190"/>
                        <a:gd name="T46" fmla="*/ 0 h 507"/>
                        <a:gd name="T47" fmla="*/ 190 w 190"/>
                        <a:gd name="T48" fmla="*/ 507 h 507"/>
                      </a:gdLst>
                      <a:ahLst/>
                      <a:cxnLst>
                        <a:cxn ang="T30">
                          <a:pos x="T0" y="T1"/>
                        </a:cxn>
                        <a:cxn ang="T31">
                          <a:pos x="T2" y="T3"/>
                        </a:cxn>
                        <a:cxn ang="T32">
                          <a:pos x="T4" y="T5"/>
                        </a:cxn>
                        <a:cxn ang="T33">
                          <a:pos x="T6" y="T7"/>
                        </a:cxn>
                        <a:cxn ang="T34">
                          <a:pos x="T8" y="T9"/>
                        </a:cxn>
                        <a:cxn ang="T35">
                          <a:pos x="T10" y="T11"/>
                        </a:cxn>
                        <a:cxn ang="T36">
                          <a:pos x="T12" y="T13"/>
                        </a:cxn>
                        <a:cxn ang="T37">
                          <a:pos x="T14" y="T15"/>
                        </a:cxn>
                        <a:cxn ang="T38">
                          <a:pos x="T16" y="T17"/>
                        </a:cxn>
                        <a:cxn ang="T39">
                          <a:pos x="T18" y="T19"/>
                        </a:cxn>
                        <a:cxn ang="T40">
                          <a:pos x="T20" y="T21"/>
                        </a:cxn>
                        <a:cxn ang="T41">
                          <a:pos x="T22" y="T23"/>
                        </a:cxn>
                        <a:cxn ang="T42">
                          <a:pos x="T24" y="T25"/>
                        </a:cxn>
                        <a:cxn ang="T43">
                          <a:pos x="T26" y="T27"/>
                        </a:cxn>
                        <a:cxn ang="T44">
                          <a:pos x="T28" y="T29"/>
                        </a:cxn>
                      </a:cxnLst>
                      <a:rect l="T45" t="T46" r="T47" b="T48"/>
                      <a:pathLst>
                        <a:path w="190" h="507">
                          <a:moveTo>
                            <a:pt x="35" y="66"/>
                          </a:moveTo>
                          <a:lnTo>
                            <a:pt x="15" y="169"/>
                          </a:lnTo>
                          <a:lnTo>
                            <a:pt x="0" y="259"/>
                          </a:lnTo>
                          <a:lnTo>
                            <a:pt x="5" y="320"/>
                          </a:lnTo>
                          <a:lnTo>
                            <a:pt x="35" y="409"/>
                          </a:lnTo>
                          <a:lnTo>
                            <a:pt x="90" y="465"/>
                          </a:lnTo>
                          <a:lnTo>
                            <a:pt x="151" y="507"/>
                          </a:lnTo>
                          <a:lnTo>
                            <a:pt x="190" y="404"/>
                          </a:lnTo>
                          <a:lnTo>
                            <a:pt x="190" y="330"/>
                          </a:lnTo>
                          <a:lnTo>
                            <a:pt x="164" y="235"/>
                          </a:lnTo>
                          <a:lnTo>
                            <a:pt x="114" y="113"/>
                          </a:lnTo>
                          <a:lnTo>
                            <a:pt x="90" y="56"/>
                          </a:lnTo>
                          <a:lnTo>
                            <a:pt x="65" y="0"/>
                          </a:lnTo>
                          <a:lnTo>
                            <a:pt x="0" y="18"/>
                          </a:lnTo>
                          <a:lnTo>
                            <a:pt x="35" y="66"/>
                          </a:lnTo>
                          <a:close/>
                        </a:path>
                      </a:pathLst>
                    </a:custGeom>
                    <a:solidFill>
                      <a:srgbClr val="FF0000"/>
                    </a:solidFill>
                    <a:ln w="1588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id-ID"/>
                    </a:p>
                  </p:txBody>
                </p:sp>
                <p:grpSp>
                  <p:nvGrpSpPr>
                    <p:cNvPr id="110" name="Group 170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614" y="1367"/>
                      <a:ext cx="74" cy="34"/>
                      <a:chOff x="614" y="1367"/>
                      <a:chExt cx="74" cy="34"/>
                    </a:xfrm>
                  </p:grpSpPr>
                  <p:grpSp>
                    <p:nvGrpSpPr>
                      <p:cNvPr id="125" name="Group 1703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666" y="1367"/>
                        <a:ext cx="22" cy="24"/>
                        <a:chOff x="666" y="1367"/>
                        <a:chExt cx="22" cy="24"/>
                      </a:xfrm>
                    </p:grpSpPr>
                    <p:sp>
                      <p:nvSpPr>
                        <p:cNvPr id="127" name="Freeform 1704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66" y="1367"/>
                          <a:ext cx="22" cy="24"/>
                        </a:xfrm>
                        <a:custGeom>
                          <a:avLst/>
                          <a:gdLst>
                            <a:gd name="T0" fmla="*/ 0 w 316"/>
                            <a:gd name="T1" fmla="*/ 0 h 311"/>
                            <a:gd name="T2" fmla="*/ 0 w 316"/>
                            <a:gd name="T3" fmla="*/ 0 h 311"/>
                            <a:gd name="T4" fmla="*/ 0 w 316"/>
                            <a:gd name="T5" fmla="*/ 0 h 311"/>
                            <a:gd name="T6" fmla="*/ 0 w 316"/>
                            <a:gd name="T7" fmla="*/ 0 h 311"/>
                            <a:gd name="T8" fmla="*/ 0 w 316"/>
                            <a:gd name="T9" fmla="*/ 0 h 311"/>
                            <a:gd name="T10" fmla="*/ 0 w 316"/>
                            <a:gd name="T11" fmla="*/ 0 h 311"/>
                            <a:gd name="T12" fmla="*/ 0 w 316"/>
                            <a:gd name="T13" fmla="*/ 0 h 311"/>
                            <a:gd name="T14" fmla="*/ 0 w 316"/>
                            <a:gd name="T15" fmla="*/ 0 h 311"/>
                            <a:gd name="T16" fmla="*/ 0 w 316"/>
                            <a:gd name="T17" fmla="*/ 0 h 311"/>
                            <a:gd name="T18" fmla="*/ 0 w 316"/>
                            <a:gd name="T19" fmla="*/ 0 h 311"/>
                            <a:gd name="T20" fmla="*/ 0 w 316"/>
                            <a:gd name="T21" fmla="*/ 0 h 311"/>
                            <a:gd name="T22" fmla="*/ 0 w 316"/>
                            <a:gd name="T23" fmla="*/ 0 h 311"/>
                            <a:gd name="T24" fmla="*/ 0 w 316"/>
                            <a:gd name="T25" fmla="*/ 0 h 311"/>
                            <a:gd name="T26" fmla="*/ 0 w 316"/>
                            <a:gd name="T27" fmla="*/ 0 h 311"/>
                            <a:gd name="T28" fmla="*/ 0 w 316"/>
                            <a:gd name="T29" fmla="*/ 0 h 311"/>
                            <a:gd name="T30" fmla="*/ 0 w 316"/>
                            <a:gd name="T31" fmla="*/ 0 h 311"/>
                            <a:gd name="T32" fmla="*/ 0 w 316"/>
                            <a:gd name="T33" fmla="*/ 0 h 311"/>
                            <a:gd name="T34" fmla="*/ 0 w 316"/>
                            <a:gd name="T35" fmla="*/ 0 h 311"/>
                            <a:gd name="T36" fmla="*/ 0 w 316"/>
                            <a:gd name="T37" fmla="*/ 0 h 311"/>
                            <a:gd name="T38" fmla="*/ 0 w 316"/>
                            <a:gd name="T39" fmla="*/ 0 h 311"/>
                            <a:gd name="T40" fmla="*/ 0 w 316"/>
                            <a:gd name="T41" fmla="*/ 0 h 311"/>
                            <a:gd name="T42" fmla="*/ 0 w 316"/>
                            <a:gd name="T43" fmla="*/ 0 h 311"/>
                            <a:gd name="T44" fmla="*/ 0 w 316"/>
                            <a:gd name="T45" fmla="*/ 0 h 311"/>
                            <a:gd name="T46" fmla="*/ 0 w 316"/>
                            <a:gd name="T47" fmla="*/ 0 h 311"/>
                            <a:gd name="T48" fmla="*/ 0 w 316"/>
                            <a:gd name="T49" fmla="*/ 0 h 311"/>
                            <a:gd name="T50" fmla="*/ 0 w 316"/>
                            <a:gd name="T51" fmla="*/ 0 h 311"/>
                            <a:gd name="T52" fmla="*/ 0 w 316"/>
                            <a:gd name="T53" fmla="*/ 0 h 311"/>
                            <a:gd name="T54" fmla="*/ 0 w 316"/>
                            <a:gd name="T55" fmla="*/ 0 h 311"/>
                            <a:gd name="T56" fmla="*/ 0 w 316"/>
                            <a:gd name="T57" fmla="*/ 0 h 311"/>
                            <a:gd name="T58" fmla="*/ 0 w 316"/>
                            <a:gd name="T59" fmla="*/ 0 h 311"/>
                            <a:gd name="T60" fmla="*/ 0 w 316"/>
                            <a:gd name="T61" fmla="*/ 0 h 311"/>
                            <a:gd name="T62" fmla="*/ 0 w 316"/>
                            <a:gd name="T63" fmla="*/ 0 h 311"/>
                            <a:gd name="T64" fmla="*/ 0 w 316"/>
                            <a:gd name="T65" fmla="*/ 0 h 311"/>
                            <a:gd name="T66" fmla="*/ 0 w 316"/>
                            <a:gd name="T67" fmla="*/ 0 h 311"/>
                            <a:gd name="T68" fmla="*/ 0 w 316"/>
                            <a:gd name="T69" fmla="*/ 0 h 311"/>
                            <a:gd name="T70" fmla="*/ 0 w 316"/>
                            <a:gd name="T71" fmla="*/ 0 h 311"/>
                            <a:gd name="T72" fmla="*/ 0 w 316"/>
                            <a:gd name="T73" fmla="*/ 0 h 311"/>
                            <a:gd name="T74" fmla="*/ 0 w 316"/>
                            <a:gd name="T75" fmla="*/ 0 h 311"/>
                            <a:gd name="T76" fmla="*/ 0 w 316"/>
                            <a:gd name="T77" fmla="*/ 0 h 311"/>
                            <a:gd name="T78" fmla="*/ 0 w 316"/>
                            <a:gd name="T79" fmla="*/ 0 h 311"/>
                            <a:gd name="T80" fmla="*/ 0 w 316"/>
                            <a:gd name="T81" fmla="*/ 0 h 311"/>
                            <a:gd name="T82" fmla="*/ 0 w 316"/>
                            <a:gd name="T83" fmla="*/ 0 h 311"/>
                            <a:gd name="T84" fmla="*/ 0 w 316"/>
                            <a:gd name="T85" fmla="*/ 0 h 311"/>
                            <a:gd name="T86" fmla="*/ 0 w 316"/>
                            <a:gd name="T87" fmla="*/ 0 h 311"/>
                            <a:gd name="T88" fmla="*/ 0 w 316"/>
                            <a:gd name="T89" fmla="*/ 0 h 311"/>
                            <a:gd name="T90" fmla="*/ 0 w 316"/>
                            <a:gd name="T91" fmla="*/ 0 h 311"/>
                            <a:gd name="T92" fmla="*/ 0 w 316"/>
                            <a:gd name="T93" fmla="*/ 0 h 311"/>
                            <a:gd name="T94" fmla="*/ 0 60000 65536"/>
                            <a:gd name="T95" fmla="*/ 0 60000 65536"/>
                            <a:gd name="T96" fmla="*/ 0 60000 65536"/>
                            <a:gd name="T97" fmla="*/ 0 60000 65536"/>
                            <a:gd name="T98" fmla="*/ 0 60000 65536"/>
                            <a:gd name="T99" fmla="*/ 0 60000 65536"/>
                            <a:gd name="T100" fmla="*/ 0 60000 65536"/>
                            <a:gd name="T101" fmla="*/ 0 60000 65536"/>
                            <a:gd name="T102" fmla="*/ 0 60000 65536"/>
                            <a:gd name="T103" fmla="*/ 0 60000 65536"/>
                            <a:gd name="T104" fmla="*/ 0 60000 65536"/>
                            <a:gd name="T105" fmla="*/ 0 60000 65536"/>
                            <a:gd name="T106" fmla="*/ 0 60000 65536"/>
                            <a:gd name="T107" fmla="*/ 0 60000 65536"/>
                            <a:gd name="T108" fmla="*/ 0 60000 65536"/>
                            <a:gd name="T109" fmla="*/ 0 60000 65536"/>
                            <a:gd name="T110" fmla="*/ 0 60000 65536"/>
                            <a:gd name="T111" fmla="*/ 0 60000 65536"/>
                            <a:gd name="T112" fmla="*/ 0 60000 65536"/>
                            <a:gd name="T113" fmla="*/ 0 60000 65536"/>
                            <a:gd name="T114" fmla="*/ 0 60000 65536"/>
                            <a:gd name="T115" fmla="*/ 0 60000 65536"/>
                            <a:gd name="T116" fmla="*/ 0 60000 65536"/>
                            <a:gd name="T117" fmla="*/ 0 60000 65536"/>
                            <a:gd name="T118" fmla="*/ 0 60000 65536"/>
                            <a:gd name="T119" fmla="*/ 0 60000 65536"/>
                            <a:gd name="T120" fmla="*/ 0 60000 65536"/>
                            <a:gd name="T121" fmla="*/ 0 60000 65536"/>
                            <a:gd name="T122" fmla="*/ 0 60000 65536"/>
                            <a:gd name="T123" fmla="*/ 0 60000 65536"/>
                            <a:gd name="T124" fmla="*/ 0 60000 65536"/>
                            <a:gd name="T125" fmla="*/ 0 60000 65536"/>
                            <a:gd name="T126" fmla="*/ 0 60000 65536"/>
                            <a:gd name="T127" fmla="*/ 0 60000 65536"/>
                            <a:gd name="T128" fmla="*/ 0 60000 65536"/>
                            <a:gd name="T129" fmla="*/ 0 60000 65536"/>
                            <a:gd name="T130" fmla="*/ 0 60000 65536"/>
                            <a:gd name="T131" fmla="*/ 0 60000 65536"/>
                            <a:gd name="T132" fmla="*/ 0 60000 65536"/>
                            <a:gd name="T133" fmla="*/ 0 60000 65536"/>
                            <a:gd name="T134" fmla="*/ 0 60000 65536"/>
                            <a:gd name="T135" fmla="*/ 0 60000 65536"/>
                            <a:gd name="T136" fmla="*/ 0 60000 65536"/>
                            <a:gd name="T137" fmla="*/ 0 60000 65536"/>
                            <a:gd name="T138" fmla="*/ 0 60000 65536"/>
                            <a:gd name="T139" fmla="*/ 0 60000 65536"/>
                            <a:gd name="T140" fmla="*/ 0 60000 65536"/>
                            <a:gd name="T141" fmla="*/ 0 w 316"/>
                            <a:gd name="T142" fmla="*/ 0 h 311"/>
                            <a:gd name="T143" fmla="*/ 316 w 316"/>
                            <a:gd name="T144" fmla="*/ 311 h 311"/>
                          </a:gdLst>
                          <a:ahLst/>
                          <a:cxnLst>
                            <a:cxn ang="T94">
                              <a:pos x="T0" y="T1"/>
                            </a:cxn>
                            <a:cxn ang="T95">
                              <a:pos x="T2" y="T3"/>
                            </a:cxn>
                            <a:cxn ang="T96">
                              <a:pos x="T4" y="T5"/>
                            </a:cxn>
                            <a:cxn ang="T97">
                              <a:pos x="T6" y="T7"/>
                            </a:cxn>
                            <a:cxn ang="T98">
                              <a:pos x="T8" y="T9"/>
                            </a:cxn>
                            <a:cxn ang="T99">
                              <a:pos x="T10" y="T11"/>
                            </a:cxn>
                            <a:cxn ang="T100">
                              <a:pos x="T12" y="T13"/>
                            </a:cxn>
                            <a:cxn ang="T101">
                              <a:pos x="T14" y="T15"/>
                            </a:cxn>
                            <a:cxn ang="T102">
                              <a:pos x="T16" y="T17"/>
                            </a:cxn>
                            <a:cxn ang="T103">
                              <a:pos x="T18" y="T19"/>
                            </a:cxn>
                            <a:cxn ang="T104">
                              <a:pos x="T20" y="T21"/>
                            </a:cxn>
                            <a:cxn ang="T105">
                              <a:pos x="T22" y="T23"/>
                            </a:cxn>
                            <a:cxn ang="T106">
                              <a:pos x="T24" y="T25"/>
                            </a:cxn>
                            <a:cxn ang="T107">
                              <a:pos x="T26" y="T27"/>
                            </a:cxn>
                            <a:cxn ang="T108">
                              <a:pos x="T28" y="T29"/>
                            </a:cxn>
                            <a:cxn ang="T109">
                              <a:pos x="T30" y="T31"/>
                            </a:cxn>
                            <a:cxn ang="T110">
                              <a:pos x="T32" y="T33"/>
                            </a:cxn>
                            <a:cxn ang="T111">
                              <a:pos x="T34" y="T35"/>
                            </a:cxn>
                            <a:cxn ang="T112">
                              <a:pos x="T36" y="T37"/>
                            </a:cxn>
                            <a:cxn ang="T113">
                              <a:pos x="T38" y="T39"/>
                            </a:cxn>
                            <a:cxn ang="T114">
                              <a:pos x="T40" y="T41"/>
                            </a:cxn>
                            <a:cxn ang="T115">
                              <a:pos x="T42" y="T43"/>
                            </a:cxn>
                            <a:cxn ang="T116">
                              <a:pos x="T44" y="T45"/>
                            </a:cxn>
                            <a:cxn ang="T117">
                              <a:pos x="T46" y="T47"/>
                            </a:cxn>
                            <a:cxn ang="T118">
                              <a:pos x="T48" y="T49"/>
                            </a:cxn>
                            <a:cxn ang="T119">
                              <a:pos x="T50" y="T51"/>
                            </a:cxn>
                            <a:cxn ang="T120">
                              <a:pos x="T52" y="T53"/>
                            </a:cxn>
                            <a:cxn ang="T121">
                              <a:pos x="T54" y="T55"/>
                            </a:cxn>
                            <a:cxn ang="T122">
                              <a:pos x="T56" y="T57"/>
                            </a:cxn>
                            <a:cxn ang="T123">
                              <a:pos x="T58" y="T59"/>
                            </a:cxn>
                            <a:cxn ang="T124">
                              <a:pos x="T60" y="T61"/>
                            </a:cxn>
                            <a:cxn ang="T125">
                              <a:pos x="T62" y="T63"/>
                            </a:cxn>
                            <a:cxn ang="T126">
                              <a:pos x="T64" y="T65"/>
                            </a:cxn>
                            <a:cxn ang="T127">
                              <a:pos x="T66" y="T67"/>
                            </a:cxn>
                            <a:cxn ang="T128">
                              <a:pos x="T68" y="T69"/>
                            </a:cxn>
                            <a:cxn ang="T129">
                              <a:pos x="T70" y="T71"/>
                            </a:cxn>
                            <a:cxn ang="T130">
                              <a:pos x="T72" y="T73"/>
                            </a:cxn>
                            <a:cxn ang="T131">
                              <a:pos x="T74" y="T75"/>
                            </a:cxn>
                            <a:cxn ang="T132">
                              <a:pos x="T76" y="T77"/>
                            </a:cxn>
                            <a:cxn ang="T133">
                              <a:pos x="T78" y="T79"/>
                            </a:cxn>
                            <a:cxn ang="T134">
                              <a:pos x="T80" y="T81"/>
                            </a:cxn>
                            <a:cxn ang="T135">
                              <a:pos x="T82" y="T83"/>
                            </a:cxn>
                            <a:cxn ang="T136">
                              <a:pos x="T84" y="T85"/>
                            </a:cxn>
                            <a:cxn ang="T137">
                              <a:pos x="T86" y="T87"/>
                            </a:cxn>
                            <a:cxn ang="T138">
                              <a:pos x="T88" y="T89"/>
                            </a:cxn>
                            <a:cxn ang="T139">
                              <a:pos x="T90" y="T91"/>
                            </a:cxn>
                            <a:cxn ang="T140">
                              <a:pos x="T92" y="T93"/>
                            </a:cxn>
                          </a:cxnLst>
                          <a:rect l="T141" t="T142" r="T143" b="T144"/>
                          <a:pathLst>
                            <a:path w="316" h="311">
                              <a:moveTo>
                                <a:pt x="23" y="202"/>
                              </a:moveTo>
                              <a:lnTo>
                                <a:pt x="105" y="180"/>
                              </a:lnTo>
                              <a:lnTo>
                                <a:pt x="113" y="170"/>
                              </a:lnTo>
                              <a:lnTo>
                                <a:pt x="112" y="137"/>
                              </a:lnTo>
                              <a:lnTo>
                                <a:pt x="100" y="91"/>
                              </a:lnTo>
                              <a:lnTo>
                                <a:pt x="93" y="55"/>
                              </a:lnTo>
                              <a:lnTo>
                                <a:pt x="96" y="43"/>
                              </a:lnTo>
                              <a:lnTo>
                                <a:pt x="113" y="32"/>
                              </a:lnTo>
                              <a:lnTo>
                                <a:pt x="207" y="11"/>
                              </a:lnTo>
                              <a:lnTo>
                                <a:pt x="268" y="0"/>
                              </a:lnTo>
                              <a:lnTo>
                                <a:pt x="272" y="2"/>
                              </a:lnTo>
                              <a:lnTo>
                                <a:pt x="282" y="16"/>
                              </a:lnTo>
                              <a:lnTo>
                                <a:pt x="284" y="30"/>
                              </a:lnTo>
                              <a:lnTo>
                                <a:pt x="266" y="40"/>
                              </a:lnTo>
                              <a:lnTo>
                                <a:pt x="245" y="46"/>
                              </a:lnTo>
                              <a:lnTo>
                                <a:pt x="279" y="43"/>
                              </a:lnTo>
                              <a:lnTo>
                                <a:pt x="303" y="45"/>
                              </a:lnTo>
                              <a:lnTo>
                                <a:pt x="316" y="49"/>
                              </a:lnTo>
                              <a:lnTo>
                                <a:pt x="316" y="61"/>
                              </a:lnTo>
                              <a:lnTo>
                                <a:pt x="314" y="71"/>
                              </a:lnTo>
                              <a:lnTo>
                                <a:pt x="303" y="77"/>
                              </a:lnTo>
                              <a:lnTo>
                                <a:pt x="281" y="85"/>
                              </a:lnTo>
                              <a:lnTo>
                                <a:pt x="259" y="88"/>
                              </a:lnTo>
                              <a:lnTo>
                                <a:pt x="298" y="95"/>
                              </a:lnTo>
                              <a:lnTo>
                                <a:pt x="312" y="101"/>
                              </a:lnTo>
                              <a:lnTo>
                                <a:pt x="316" y="115"/>
                              </a:lnTo>
                              <a:lnTo>
                                <a:pt x="314" y="128"/>
                              </a:lnTo>
                              <a:lnTo>
                                <a:pt x="307" y="134"/>
                              </a:lnTo>
                              <a:lnTo>
                                <a:pt x="277" y="140"/>
                              </a:lnTo>
                              <a:lnTo>
                                <a:pt x="251" y="140"/>
                              </a:lnTo>
                              <a:lnTo>
                                <a:pt x="214" y="145"/>
                              </a:lnTo>
                              <a:lnTo>
                                <a:pt x="197" y="156"/>
                              </a:lnTo>
                              <a:lnTo>
                                <a:pt x="194" y="167"/>
                              </a:lnTo>
                              <a:lnTo>
                                <a:pt x="194" y="198"/>
                              </a:lnTo>
                              <a:lnTo>
                                <a:pt x="216" y="245"/>
                              </a:lnTo>
                              <a:lnTo>
                                <a:pt x="230" y="288"/>
                              </a:lnTo>
                              <a:lnTo>
                                <a:pt x="230" y="308"/>
                              </a:lnTo>
                              <a:lnTo>
                                <a:pt x="197" y="311"/>
                              </a:lnTo>
                              <a:lnTo>
                                <a:pt x="175" y="303"/>
                              </a:lnTo>
                              <a:lnTo>
                                <a:pt x="158" y="289"/>
                              </a:lnTo>
                              <a:lnTo>
                                <a:pt x="146" y="261"/>
                              </a:lnTo>
                              <a:lnTo>
                                <a:pt x="146" y="253"/>
                              </a:lnTo>
                              <a:lnTo>
                                <a:pt x="122" y="256"/>
                              </a:lnTo>
                              <a:lnTo>
                                <a:pt x="66" y="273"/>
                              </a:lnTo>
                              <a:lnTo>
                                <a:pt x="0" y="289"/>
                              </a:lnTo>
                              <a:lnTo>
                                <a:pt x="0" y="208"/>
                              </a:lnTo>
                              <a:lnTo>
                                <a:pt x="23" y="202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E0C0"/>
                        </a:solidFill>
                        <a:ln w="1588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endParaRPr lang="id-ID"/>
                        </a:p>
                      </p:txBody>
                    </p:sp>
                    <p:sp>
                      <p:nvSpPr>
                        <p:cNvPr id="128" name="Freeform 1705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78" y="1371"/>
                          <a:ext cx="5" cy="1"/>
                        </a:xfrm>
                        <a:custGeom>
                          <a:avLst/>
                          <a:gdLst>
                            <a:gd name="T0" fmla="*/ 0 w 73"/>
                            <a:gd name="T1" fmla="*/ 0 h 12"/>
                            <a:gd name="T2" fmla="*/ 0 w 73"/>
                            <a:gd name="T3" fmla="*/ 0 h 12"/>
                            <a:gd name="T4" fmla="*/ 0 w 73"/>
                            <a:gd name="T5" fmla="*/ 0 h 12"/>
                            <a:gd name="T6" fmla="*/ 0 60000 65536"/>
                            <a:gd name="T7" fmla="*/ 0 60000 65536"/>
                            <a:gd name="T8" fmla="*/ 0 60000 65536"/>
                            <a:gd name="T9" fmla="*/ 0 w 73"/>
                            <a:gd name="T10" fmla="*/ 0 h 12"/>
                            <a:gd name="T11" fmla="*/ 73 w 73"/>
                            <a:gd name="T12" fmla="*/ 12 h 12"/>
                          </a:gdLst>
                          <a:ahLst/>
                          <a:cxnLst>
                            <a:cxn ang="T6">
                              <a:pos x="T0" y="T1"/>
                            </a:cxn>
                            <a:cxn ang="T7">
                              <a:pos x="T2" y="T3"/>
                            </a:cxn>
                            <a:cxn ang="T8">
                              <a:pos x="T4" y="T5"/>
                            </a:cxn>
                          </a:cxnLst>
                          <a:rect l="T9" t="T10" r="T11" b="T12"/>
                          <a:pathLst>
                            <a:path w="73" h="12">
                              <a:moveTo>
                                <a:pt x="73" y="0"/>
                              </a:moveTo>
                              <a:lnTo>
                                <a:pt x="27" y="7"/>
                              </a:lnTo>
                              <a:lnTo>
                                <a:pt x="0" y="12"/>
                              </a:lnTo>
                            </a:path>
                          </a:pathLst>
                        </a:custGeom>
                        <a:noFill/>
                        <a:ln w="1588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endParaRPr lang="id-ID"/>
                        </a:p>
                      </p:txBody>
                    </p:sp>
                    <p:sp>
                      <p:nvSpPr>
                        <p:cNvPr id="129" name="Freeform 1706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79" y="1374"/>
                          <a:ext cx="5" cy="1"/>
                        </a:xfrm>
                        <a:custGeom>
                          <a:avLst/>
                          <a:gdLst>
                            <a:gd name="T0" fmla="*/ 0 w 78"/>
                            <a:gd name="T1" fmla="*/ 0 h 12"/>
                            <a:gd name="T2" fmla="*/ 0 w 78"/>
                            <a:gd name="T3" fmla="*/ 0 h 12"/>
                            <a:gd name="T4" fmla="*/ 0 w 78"/>
                            <a:gd name="T5" fmla="*/ 0 h 12"/>
                            <a:gd name="T6" fmla="*/ 0 w 78"/>
                            <a:gd name="T7" fmla="*/ 0 h 12"/>
                            <a:gd name="T8" fmla="*/ 0 60000 65536"/>
                            <a:gd name="T9" fmla="*/ 0 60000 65536"/>
                            <a:gd name="T10" fmla="*/ 0 60000 65536"/>
                            <a:gd name="T11" fmla="*/ 0 60000 65536"/>
                            <a:gd name="T12" fmla="*/ 0 w 78"/>
                            <a:gd name="T13" fmla="*/ 0 h 12"/>
                            <a:gd name="T14" fmla="*/ 78 w 78"/>
                            <a:gd name="T15" fmla="*/ 12 h 12"/>
                          </a:gdLst>
                          <a:ahLst/>
                          <a:cxnLst>
                            <a:cxn ang="T8">
                              <a:pos x="T0" y="T1"/>
                            </a:cxn>
                            <a:cxn ang="T9">
                              <a:pos x="T2" y="T3"/>
                            </a:cxn>
                            <a:cxn ang="T10">
                              <a:pos x="T4" y="T5"/>
                            </a:cxn>
                            <a:cxn ang="T11">
                              <a:pos x="T6" y="T7"/>
                            </a:cxn>
                          </a:cxnLst>
                          <a:rect l="T12" t="T13" r="T14" b="T15"/>
                          <a:pathLst>
                            <a:path w="78" h="12">
                              <a:moveTo>
                                <a:pt x="78" y="0"/>
                              </a:moveTo>
                              <a:lnTo>
                                <a:pt x="54" y="0"/>
                              </a:lnTo>
                              <a:lnTo>
                                <a:pt x="33" y="7"/>
                              </a:lnTo>
                              <a:lnTo>
                                <a:pt x="0" y="12"/>
                              </a:lnTo>
                            </a:path>
                          </a:pathLst>
                        </a:custGeom>
                        <a:noFill/>
                        <a:ln w="1588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endParaRPr lang="id-ID"/>
                        </a:p>
                      </p:txBody>
                    </p:sp>
                  </p:grpSp>
                  <p:sp>
                    <p:nvSpPr>
                      <p:cNvPr id="126" name="Freeform 170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14" y="1381"/>
                        <a:ext cx="56" cy="20"/>
                      </a:xfrm>
                      <a:custGeom>
                        <a:avLst/>
                        <a:gdLst>
                          <a:gd name="T0" fmla="*/ 0 w 779"/>
                          <a:gd name="T1" fmla="*/ 0 h 267"/>
                          <a:gd name="T2" fmla="*/ 0 w 779"/>
                          <a:gd name="T3" fmla="*/ 0 h 267"/>
                          <a:gd name="T4" fmla="*/ 0 w 779"/>
                          <a:gd name="T5" fmla="*/ 0 h 267"/>
                          <a:gd name="T6" fmla="*/ 0 w 779"/>
                          <a:gd name="T7" fmla="*/ 0 h 267"/>
                          <a:gd name="T8" fmla="*/ 0 w 779"/>
                          <a:gd name="T9" fmla="*/ 0 h 267"/>
                          <a:gd name="T10" fmla="*/ 0 w 779"/>
                          <a:gd name="T11" fmla="*/ 0 h 267"/>
                          <a:gd name="T12" fmla="*/ 0 w 779"/>
                          <a:gd name="T13" fmla="*/ 0 h 267"/>
                          <a:gd name="T14" fmla="*/ 0 w 779"/>
                          <a:gd name="T15" fmla="*/ 0 h 267"/>
                          <a:gd name="T16" fmla="*/ 0 w 779"/>
                          <a:gd name="T17" fmla="*/ 0 h 267"/>
                          <a:gd name="T18" fmla="*/ 0 w 779"/>
                          <a:gd name="T19" fmla="*/ 0 h 267"/>
                          <a:gd name="T20" fmla="*/ 0 w 779"/>
                          <a:gd name="T21" fmla="*/ 0 h 267"/>
                          <a:gd name="T22" fmla="*/ 0 w 779"/>
                          <a:gd name="T23" fmla="*/ 0 h 267"/>
                          <a:gd name="T24" fmla="*/ 0 w 779"/>
                          <a:gd name="T25" fmla="*/ 0 h 267"/>
                          <a:gd name="T26" fmla="*/ 0 w 779"/>
                          <a:gd name="T27" fmla="*/ 0 h 267"/>
                          <a:gd name="T28" fmla="*/ 0 w 779"/>
                          <a:gd name="T29" fmla="*/ 0 h 267"/>
                          <a:gd name="T30" fmla="*/ 0 w 779"/>
                          <a:gd name="T31" fmla="*/ 0 h 267"/>
                          <a:gd name="T32" fmla="*/ 0 w 779"/>
                          <a:gd name="T33" fmla="*/ 0 h 267"/>
                          <a:gd name="T34" fmla="*/ 0 w 779"/>
                          <a:gd name="T35" fmla="*/ 0 h 267"/>
                          <a:gd name="T36" fmla="*/ 0 w 779"/>
                          <a:gd name="T37" fmla="*/ 0 h 267"/>
                          <a:gd name="T38" fmla="*/ 0 w 779"/>
                          <a:gd name="T39" fmla="*/ 0 h 267"/>
                          <a:gd name="T40" fmla="*/ 0 w 779"/>
                          <a:gd name="T41" fmla="*/ 0 h 267"/>
                          <a:gd name="T42" fmla="*/ 0 w 779"/>
                          <a:gd name="T43" fmla="*/ 0 h 267"/>
                          <a:gd name="T44" fmla="*/ 0 w 779"/>
                          <a:gd name="T45" fmla="*/ 0 h 267"/>
                          <a:gd name="T46" fmla="*/ 0 w 779"/>
                          <a:gd name="T47" fmla="*/ 0 h 267"/>
                          <a:gd name="T48" fmla="*/ 0 w 779"/>
                          <a:gd name="T49" fmla="*/ 0 h 267"/>
                          <a:gd name="T50" fmla="*/ 0 60000 65536"/>
                          <a:gd name="T51" fmla="*/ 0 60000 65536"/>
                          <a:gd name="T52" fmla="*/ 0 60000 65536"/>
                          <a:gd name="T53" fmla="*/ 0 60000 65536"/>
                          <a:gd name="T54" fmla="*/ 0 60000 65536"/>
                          <a:gd name="T55" fmla="*/ 0 60000 65536"/>
                          <a:gd name="T56" fmla="*/ 0 60000 65536"/>
                          <a:gd name="T57" fmla="*/ 0 60000 65536"/>
                          <a:gd name="T58" fmla="*/ 0 60000 65536"/>
                          <a:gd name="T59" fmla="*/ 0 60000 65536"/>
                          <a:gd name="T60" fmla="*/ 0 60000 65536"/>
                          <a:gd name="T61" fmla="*/ 0 60000 65536"/>
                          <a:gd name="T62" fmla="*/ 0 60000 65536"/>
                          <a:gd name="T63" fmla="*/ 0 60000 65536"/>
                          <a:gd name="T64" fmla="*/ 0 60000 65536"/>
                          <a:gd name="T65" fmla="*/ 0 60000 65536"/>
                          <a:gd name="T66" fmla="*/ 0 60000 65536"/>
                          <a:gd name="T67" fmla="*/ 0 60000 65536"/>
                          <a:gd name="T68" fmla="*/ 0 60000 65536"/>
                          <a:gd name="T69" fmla="*/ 0 60000 65536"/>
                          <a:gd name="T70" fmla="*/ 0 60000 65536"/>
                          <a:gd name="T71" fmla="*/ 0 60000 65536"/>
                          <a:gd name="T72" fmla="*/ 0 60000 65536"/>
                          <a:gd name="T73" fmla="*/ 0 60000 65536"/>
                          <a:gd name="T74" fmla="*/ 0 60000 65536"/>
                          <a:gd name="T75" fmla="*/ 0 w 779"/>
                          <a:gd name="T76" fmla="*/ 0 h 267"/>
                          <a:gd name="T77" fmla="*/ 779 w 779"/>
                          <a:gd name="T78" fmla="*/ 267 h 267"/>
                        </a:gdLst>
                        <a:ahLst/>
                        <a:cxnLst>
                          <a:cxn ang="T50">
                            <a:pos x="T0" y="T1"/>
                          </a:cxn>
                          <a:cxn ang="T51">
                            <a:pos x="T2" y="T3"/>
                          </a:cxn>
                          <a:cxn ang="T52">
                            <a:pos x="T4" y="T5"/>
                          </a:cxn>
                          <a:cxn ang="T53">
                            <a:pos x="T6" y="T7"/>
                          </a:cxn>
                          <a:cxn ang="T54">
                            <a:pos x="T8" y="T9"/>
                          </a:cxn>
                          <a:cxn ang="T55">
                            <a:pos x="T10" y="T11"/>
                          </a:cxn>
                          <a:cxn ang="T56">
                            <a:pos x="T12" y="T13"/>
                          </a:cxn>
                          <a:cxn ang="T57">
                            <a:pos x="T14" y="T15"/>
                          </a:cxn>
                          <a:cxn ang="T58">
                            <a:pos x="T16" y="T17"/>
                          </a:cxn>
                          <a:cxn ang="T59">
                            <a:pos x="T18" y="T19"/>
                          </a:cxn>
                          <a:cxn ang="T60">
                            <a:pos x="T20" y="T21"/>
                          </a:cxn>
                          <a:cxn ang="T61">
                            <a:pos x="T22" y="T23"/>
                          </a:cxn>
                          <a:cxn ang="T62">
                            <a:pos x="T24" y="T25"/>
                          </a:cxn>
                          <a:cxn ang="T63">
                            <a:pos x="T26" y="T27"/>
                          </a:cxn>
                          <a:cxn ang="T64">
                            <a:pos x="T28" y="T29"/>
                          </a:cxn>
                          <a:cxn ang="T65">
                            <a:pos x="T30" y="T31"/>
                          </a:cxn>
                          <a:cxn ang="T66">
                            <a:pos x="T32" y="T33"/>
                          </a:cxn>
                          <a:cxn ang="T67">
                            <a:pos x="T34" y="T35"/>
                          </a:cxn>
                          <a:cxn ang="T68">
                            <a:pos x="T36" y="T37"/>
                          </a:cxn>
                          <a:cxn ang="T69">
                            <a:pos x="T38" y="T39"/>
                          </a:cxn>
                          <a:cxn ang="T70">
                            <a:pos x="T40" y="T41"/>
                          </a:cxn>
                          <a:cxn ang="T71">
                            <a:pos x="T42" y="T43"/>
                          </a:cxn>
                          <a:cxn ang="T72">
                            <a:pos x="T44" y="T45"/>
                          </a:cxn>
                          <a:cxn ang="T73">
                            <a:pos x="T46" y="T47"/>
                          </a:cxn>
                          <a:cxn ang="T74">
                            <a:pos x="T48" y="T49"/>
                          </a:cxn>
                        </a:cxnLst>
                        <a:rect l="T75" t="T76" r="T77" b="T78"/>
                        <a:pathLst>
                          <a:path w="779" h="267">
                            <a:moveTo>
                              <a:pt x="770" y="0"/>
                            </a:moveTo>
                            <a:lnTo>
                              <a:pt x="650" y="18"/>
                            </a:lnTo>
                            <a:lnTo>
                              <a:pt x="560" y="37"/>
                            </a:lnTo>
                            <a:lnTo>
                              <a:pt x="489" y="56"/>
                            </a:lnTo>
                            <a:lnTo>
                              <a:pt x="430" y="56"/>
                            </a:lnTo>
                            <a:lnTo>
                              <a:pt x="330" y="65"/>
                            </a:lnTo>
                            <a:lnTo>
                              <a:pt x="259" y="70"/>
                            </a:lnTo>
                            <a:lnTo>
                              <a:pt x="200" y="70"/>
                            </a:lnTo>
                            <a:lnTo>
                              <a:pt x="119" y="70"/>
                            </a:lnTo>
                            <a:lnTo>
                              <a:pt x="49" y="85"/>
                            </a:lnTo>
                            <a:lnTo>
                              <a:pt x="17" y="102"/>
                            </a:lnTo>
                            <a:lnTo>
                              <a:pt x="0" y="141"/>
                            </a:lnTo>
                            <a:lnTo>
                              <a:pt x="0" y="187"/>
                            </a:lnTo>
                            <a:lnTo>
                              <a:pt x="26" y="239"/>
                            </a:lnTo>
                            <a:lnTo>
                              <a:pt x="40" y="254"/>
                            </a:lnTo>
                            <a:lnTo>
                              <a:pt x="114" y="267"/>
                            </a:lnTo>
                            <a:lnTo>
                              <a:pt x="194" y="267"/>
                            </a:lnTo>
                            <a:lnTo>
                              <a:pt x="323" y="248"/>
                            </a:lnTo>
                            <a:lnTo>
                              <a:pt x="455" y="197"/>
                            </a:lnTo>
                            <a:lnTo>
                              <a:pt x="590" y="169"/>
                            </a:lnTo>
                            <a:lnTo>
                              <a:pt x="684" y="155"/>
                            </a:lnTo>
                            <a:lnTo>
                              <a:pt x="779" y="135"/>
                            </a:lnTo>
                            <a:lnTo>
                              <a:pt x="759" y="85"/>
                            </a:lnTo>
                            <a:lnTo>
                              <a:pt x="755" y="46"/>
                            </a:lnTo>
                            <a:lnTo>
                              <a:pt x="770" y="0"/>
                            </a:lnTo>
                            <a:close/>
                          </a:path>
                        </a:pathLst>
                      </a:custGeom>
                      <a:solidFill>
                        <a:srgbClr val="0000FF"/>
                      </a:solidFill>
                      <a:ln w="1588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id-ID"/>
                      </a:p>
                    </p:txBody>
                  </p:sp>
                </p:grpSp>
                <p:grpSp>
                  <p:nvGrpSpPr>
                    <p:cNvPr id="111" name="Group 1708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600" y="1413"/>
                      <a:ext cx="24" cy="13"/>
                      <a:chOff x="600" y="1413"/>
                      <a:chExt cx="24" cy="13"/>
                    </a:xfrm>
                  </p:grpSpPr>
                  <p:sp>
                    <p:nvSpPr>
                      <p:cNvPr id="123" name="Freeform 170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00" y="1413"/>
                        <a:ext cx="10" cy="8"/>
                      </a:xfrm>
                      <a:custGeom>
                        <a:avLst/>
                        <a:gdLst>
                          <a:gd name="T0" fmla="*/ 0 w 143"/>
                          <a:gd name="T1" fmla="*/ 0 h 101"/>
                          <a:gd name="T2" fmla="*/ 0 w 143"/>
                          <a:gd name="T3" fmla="*/ 0 h 101"/>
                          <a:gd name="T4" fmla="*/ 0 w 143"/>
                          <a:gd name="T5" fmla="*/ 0 h 101"/>
                          <a:gd name="T6" fmla="*/ 0 60000 65536"/>
                          <a:gd name="T7" fmla="*/ 0 60000 65536"/>
                          <a:gd name="T8" fmla="*/ 0 60000 65536"/>
                          <a:gd name="T9" fmla="*/ 0 w 143"/>
                          <a:gd name="T10" fmla="*/ 0 h 101"/>
                          <a:gd name="T11" fmla="*/ 143 w 143"/>
                          <a:gd name="T12" fmla="*/ 101 h 101"/>
                        </a:gdLst>
                        <a:ahLst/>
                        <a:cxnLst>
                          <a:cxn ang="T6">
                            <a:pos x="T0" y="T1"/>
                          </a:cxn>
                          <a:cxn ang="T7">
                            <a:pos x="T2" y="T3"/>
                          </a:cxn>
                          <a:cxn ang="T8">
                            <a:pos x="T4" y="T5"/>
                          </a:cxn>
                        </a:cxnLst>
                        <a:rect l="T9" t="T10" r="T11" b="T12"/>
                        <a:pathLst>
                          <a:path w="143" h="101">
                            <a:moveTo>
                              <a:pt x="0" y="94"/>
                            </a:moveTo>
                            <a:lnTo>
                              <a:pt x="143" y="0"/>
                            </a:lnTo>
                            <a:lnTo>
                              <a:pt x="26" y="101"/>
                            </a:lnTo>
                          </a:path>
                        </a:pathLst>
                      </a:custGeom>
                      <a:noFill/>
                      <a:ln w="1588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id-ID"/>
                      </a:p>
                    </p:txBody>
                  </p:sp>
                  <p:sp>
                    <p:nvSpPr>
                      <p:cNvPr id="124" name="Freeform 171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18" y="1419"/>
                        <a:ext cx="6" cy="7"/>
                      </a:xfrm>
                      <a:custGeom>
                        <a:avLst/>
                        <a:gdLst>
                          <a:gd name="T0" fmla="*/ 0 w 85"/>
                          <a:gd name="T1" fmla="*/ 0 h 100"/>
                          <a:gd name="T2" fmla="*/ 0 w 85"/>
                          <a:gd name="T3" fmla="*/ 0 h 100"/>
                          <a:gd name="T4" fmla="*/ 0 w 85"/>
                          <a:gd name="T5" fmla="*/ 0 h 100"/>
                          <a:gd name="T6" fmla="*/ 0 w 85"/>
                          <a:gd name="T7" fmla="*/ 0 h 100"/>
                          <a:gd name="T8" fmla="*/ 0 60000 65536"/>
                          <a:gd name="T9" fmla="*/ 0 60000 65536"/>
                          <a:gd name="T10" fmla="*/ 0 60000 65536"/>
                          <a:gd name="T11" fmla="*/ 0 60000 65536"/>
                          <a:gd name="T12" fmla="*/ 0 w 85"/>
                          <a:gd name="T13" fmla="*/ 0 h 100"/>
                          <a:gd name="T14" fmla="*/ 85 w 85"/>
                          <a:gd name="T15" fmla="*/ 100 h 100"/>
                        </a:gdLst>
                        <a:ahLst/>
                        <a:cxnLst>
                          <a:cxn ang="T8">
                            <a:pos x="T0" y="T1"/>
                          </a:cxn>
                          <a:cxn ang="T9">
                            <a:pos x="T2" y="T3"/>
                          </a:cxn>
                          <a:cxn ang="T10">
                            <a:pos x="T4" y="T5"/>
                          </a:cxn>
                          <a:cxn ang="T11">
                            <a:pos x="T6" y="T7"/>
                          </a:cxn>
                        </a:cxnLst>
                        <a:rect l="T12" t="T13" r="T14" b="T15"/>
                        <a:pathLst>
                          <a:path w="85" h="100">
                            <a:moveTo>
                              <a:pt x="0" y="0"/>
                            </a:moveTo>
                            <a:lnTo>
                              <a:pt x="41" y="23"/>
                            </a:lnTo>
                            <a:lnTo>
                              <a:pt x="67" y="55"/>
                            </a:lnTo>
                            <a:lnTo>
                              <a:pt x="85" y="100"/>
                            </a:lnTo>
                          </a:path>
                        </a:pathLst>
                      </a:custGeom>
                      <a:noFill/>
                      <a:ln w="1588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id-ID"/>
                      </a:p>
                    </p:txBody>
                  </p:sp>
                </p:grpSp>
                <p:grpSp>
                  <p:nvGrpSpPr>
                    <p:cNvPr id="112" name="Group 1711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603" y="1334"/>
                      <a:ext cx="51" cy="52"/>
                      <a:chOff x="603" y="1334"/>
                      <a:chExt cx="51" cy="52"/>
                    </a:xfrm>
                  </p:grpSpPr>
                  <p:sp>
                    <p:nvSpPr>
                      <p:cNvPr id="113" name="Freeform 171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11" y="1337"/>
                        <a:ext cx="43" cy="49"/>
                      </a:xfrm>
                      <a:custGeom>
                        <a:avLst/>
                        <a:gdLst>
                          <a:gd name="T0" fmla="*/ 0 w 610"/>
                          <a:gd name="T1" fmla="*/ 0 h 630"/>
                          <a:gd name="T2" fmla="*/ 0 w 610"/>
                          <a:gd name="T3" fmla="*/ 0 h 630"/>
                          <a:gd name="T4" fmla="*/ 0 w 610"/>
                          <a:gd name="T5" fmla="*/ 0 h 630"/>
                          <a:gd name="T6" fmla="*/ 0 w 610"/>
                          <a:gd name="T7" fmla="*/ 0 h 630"/>
                          <a:gd name="T8" fmla="*/ 0 w 610"/>
                          <a:gd name="T9" fmla="*/ 0 h 630"/>
                          <a:gd name="T10" fmla="*/ 0 w 610"/>
                          <a:gd name="T11" fmla="*/ 0 h 630"/>
                          <a:gd name="T12" fmla="*/ 0 w 610"/>
                          <a:gd name="T13" fmla="*/ 0 h 630"/>
                          <a:gd name="T14" fmla="*/ 0 w 610"/>
                          <a:gd name="T15" fmla="*/ 0 h 630"/>
                          <a:gd name="T16" fmla="*/ 0 w 610"/>
                          <a:gd name="T17" fmla="*/ 0 h 630"/>
                          <a:gd name="T18" fmla="*/ 0 w 610"/>
                          <a:gd name="T19" fmla="*/ 0 h 630"/>
                          <a:gd name="T20" fmla="*/ 0 w 610"/>
                          <a:gd name="T21" fmla="*/ 0 h 630"/>
                          <a:gd name="T22" fmla="*/ 0 w 610"/>
                          <a:gd name="T23" fmla="*/ 0 h 630"/>
                          <a:gd name="T24" fmla="*/ 0 w 610"/>
                          <a:gd name="T25" fmla="*/ 0 h 630"/>
                          <a:gd name="T26" fmla="*/ 0 w 610"/>
                          <a:gd name="T27" fmla="*/ 0 h 630"/>
                          <a:gd name="T28" fmla="*/ 0 w 610"/>
                          <a:gd name="T29" fmla="*/ 0 h 630"/>
                          <a:gd name="T30" fmla="*/ 0 w 610"/>
                          <a:gd name="T31" fmla="*/ 0 h 630"/>
                          <a:gd name="T32" fmla="*/ 0 w 610"/>
                          <a:gd name="T33" fmla="*/ 0 h 630"/>
                          <a:gd name="T34" fmla="*/ 0 w 610"/>
                          <a:gd name="T35" fmla="*/ 0 h 630"/>
                          <a:gd name="T36" fmla="*/ 0 w 610"/>
                          <a:gd name="T37" fmla="*/ 0 h 630"/>
                          <a:gd name="T38" fmla="*/ 0 w 610"/>
                          <a:gd name="T39" fmla="*/ 0 h 630"/>
                          <a:gd name="T40" fmla="*/ 0 w 610"/>
                          <a:gd name="T41" fmla="*/ 0 h 630"/>
                          <a:gd name="T42" fmla="*/ 0 w 610"/>
                          <a:gd name="T43" fmla="*/ 0 h 630"/>
                          <a:gd name="T44" fmla="*/ 0 w 610"/>
                          <a:gd name="T45" fmla="*/ 0 h 630"/>
                          <a:gd name="T46" fmla="*/ 0 w 610"/>
                          <a:gd name="T47" fmla="*/ 0 h 630"/>
                          <a:gd name="T48" fmla="*/ 0 w 610"/>
                          <a:gd name="T49" fmla="*/ 0 h 630"/>
                          <a:gd name="T50" fmla="*/ 0 w 610"/>
                          <a:gd name="T51" fmla="*/ 0 h 630"/>
                          <a:gd name="T52" fmla="*/ 0 w 610"/>
                          <a:gd name="T53" fmla="*/ 0 h 630"/>
                          <a:gd name="T54" fmla="*/ 0 w 610"/>
                          <a:gd name="T55" fmla="*/ 0 h 630"/>
                          <a:gd name="T56" fmla="*/ 0 w 610"/>
                          <a:gd name="T57" fmla="*/ 0 h 630"/>
                          <a:gd name="T58" fmla="*/ 0 w 610"/>
                          <a:gd name="T59" fmla="*/ 0 h 630"/>
                          <a:gd name="T60" fmla="*/ 0 w 610"/>
                          <a:gd name="T61" fmla="*/ 0 h 630"/>
                          <a:gd name="T62" fmla="*/ 0 w 610"/>
                          <a:gd name="T63" fmla="*/ 0 h 630"/>
                          <a:gd name="T64" fmla="*/ 0 w 610"/>
                          <a:gd name="T65" fmla="*/ 0 h 630"/>
                          <a:gd name="T66" fmla="*/ 0 w 610"/>
                          <a:gd name="T67" fmla="*/ 0 h 630"/>
                          <a:gd name="T68" fmla="*/ 0 w 610"/>
                          <a:gd name="T69" fmla="*/ 0 h 630"/>
                          <a:gd name="T70" fmla="*/ 0 w 610"/>
                          <a:gd name="T71" fmla="*/ 0 h 630"/>
                          <a:gd name="T72" fmla="*/ 0 w 610"/>
                          <a:gd name="T73" fmla="*/ 0 h 630"/>
                          <a:gd name="T74" fmla="*/ 0 60000 65536"/>
                          <a:gd name="T75" fmla="*/ 0 60000 65536"/>
                          <a:gd name="T76" fmla="*/ 0 60000 65536"/>
                          <a:gd name="T77" fmla="*/ 0 60000 65536"/>
                          <a:gd name="T78" fmla="*/ 0 60000 65536"/>
                          <a:gd name="T79" fmla="*/ 0 60000 65536"/>
                          <a:gd name="T80" fmla="*/ 0 60000 65536"/>
                          <a:gd name="T81" fmla="*/ 0 60000 65536"/>
                          <a:gd name="T82" fmla="*/ 0 60000 65536"/>
                          <a:gd name="T83" fmla="*/ 0 60000 65536"/>
                          <a:gd name="T84" fmla="*/ 0 60000 65536"/>
                          <a:gd name="T85" fmla="*/ 0 60000 65536"/>
                          <a:gd name="T86" fmla="*/ 0 60000 65536"/>
                          <a:gd name="T87" fmla="*/ 0 60000 65536"/>
                          <a:gd name="T88" fmla="*/ 0 60000 65536"/>
                          <a:gd name="T89" fmla="*/ 0 60000 65536"/>
                          <a:gd name="T90" fmla="*/ 0 60000 65536"/>
                          <a:gd name="T91" fmla="*/ 0 60000 65536"/>
                          <a:gd name="T92" fmla="*/ 0 60000 65536"/>
                          <a:gd name="T93" fmla="*/ 0 60000 65536"/>
                          <a:gd name="T94" fmla="*/ 0 60000 65536"/>
                          <a:gd name="T95" fmla="*/ 0 60000 65536"/>
                          <a:gd name="T96" fmla="*/ 0 60000 65536"/>
                          <a:gd name="T97" fmla="*/ 0 60000 65536"/>
                          <a:gd name="T98" fmla="*/ 0 60000 65536"/>
                          <a:gd name="T99" fmla="*/ 0 60000 65536"/>
                          <a:gd name="T100" fmla="*/ 0 60000 65536"/>
                          <a:gd name="T101" fmla="*/ 0 60000 65536"/>
                          <a:gd name="T102" fmla="*/ 0 60000 65536"/>
                          <a:gd name="T103" fmla="*/ 0 60000 65536"/>
                          <a:gd name="T104" fmla="*/ 0 60000 65536"/>
                          <a:gd name="T105" fmla="*/ 0 60000 65536"/>
                          <a:gd name="T106" fmla="*/ 0 60000 65536"/>
                          <a:gd name="T107" fmla="*/ 0 60000 65536"/>
                          <a:gd name="T108" fmla="*/ 0 60000 65536"/>
                          <a:gd name="T109" fmla="*/ 0 60000 65536"/>
                          <a:gd name="T110" fmla="*/ 0 60000 65536"/>
                          <a:gd name="T111" fmla="*/ 0 w 610"/>
                          <a:gd name="T112" fmla="*/ 0 h 630"/>
                          <a:gd name="T113" fmla="*/ 610 w 610"/>
                          <a:gd name="T114" fmla="*/ 630 h 630"/>
                        </a:gdLst>
                        <a:ahLst/>
                        <a:cxnLst>
                          <a:cxn ang="T74">
                            <a:pos x="T0" y="T1"/>
                          </a:cxn>
                          <a:cxn ang="T75">
                            <a:pos x="T2" y="T3"/>
                          </a:cxn>
                          <a:cxn ang="T76">
                            <a:pos x="T4" y="T5"/>
                          </a:cxn>
                          <a:cxn ang="T77">
                            <a:pos x="T6" y="T7"/>
                          </a:cxn>
                          <a:cxn ang="T78">
                            <a:pos x="T8" y="T9"/>
                          </a:cxn>
                          <a:cxn ang="T79">
                            <a:pos x="T10" y="T11"/>
                          </a:cxn>
                          <a:cxn ang="T80">
                            <a:pos x="T12" y="T13"/>
                          </a:cxn>
                          <a:cxn ang="T81">
                            <a:pos x="T14" y="T15"/>
                          </a:cxn>
                          <a:cxn ang="T82">
                            <a:pos x="T16" y="T17"/>
                          </a:cxn>
                          <a:cxn ang="T83">
                            <a:pos x="T18" y="T19"/>
                          </a:cxn>
                          <a:cxn ang="T84">
                            <a:pos x="T20" y="T21"/>
                          </a:cxn>
                          <a:cxn ang="T85">
                            <a:pos x="T22" y="T23"/>
                          </a:cxn>
                          <a:cxn ang="T86">
                            <a:pos x="T24" y="T25"/>
                          </a:cxn>
                          <a:cxn ang="T87">
                            <a:pos x="T26" y="T27"/>
                          </a:cxn>
                          <a:cxn ang="T88">
                            <a:pos x="T28" y="T29"/>
                          </a:cxn>
                          <a:cxn ang="T89">
                            <a:pos x="T30" y="T31"/>
                          </a:cxn>
                          <a:cxn ang="T90">
                            <a:pos x="T32" y="T33"/>
                          </a:cxn>
                          <a:cxn ang="T91">
                            <a:pos x="T34" y="T35"/>
                          </a:cxn>
                          <a:cxn ang="T92">
                            <a:pos x="T36" y="T37"/>
                          </a:cxn>
                          <a:cxn ang="T93">
                            <a:pos x="T38" y="T39"/>
                          </a:cxn>
                          <a:cxn ang="T94">
                            <a:pos x="T40" y="T41"/>
                          </a:cxn>
                          <a:cxn ang="T95">
                            <a:pos x="T42" y="T43"/>
                          </a:cxn>
                          <a:cxn ang="T96">
                            <a:pos x="T44" y="T45"/>
                          </a:cxn>
                          <a:cxn ang="T97">
                            <a:pos x="T46" y="T47"/>
                          </a:cxn>
                          <a:cxn ang="T98">
                            <a:pos x="T48" y="T49"/>
                          </a:cxn>
                          <a:cxn ang="T99">
                            <a:pos x="T50" y="T51"/>
                          </a:cxn>
                          <a:cxn ang="T100">
                            <a:pos x="T52" y="T53"/>
                          </a:cxn>
                          <a:cxn ang="T101">
                            <a:pos x="T54" y="T55"/>
                          </a:cxn>
                          <a:cxn ang="T102">
                            <a:pos x="T56" y="T57"/>
                          </a:cxn>
                          <a:cxn ang="T103">
                            <a:pos x="T58" y="T59"/>
                          </a:cxn>
                          <a:cxn ang="T104">
                            <a:pos x="T60" y="T61"/>
                          </a:cxn>
                          <a:cxn ang="T105">
                            <a:pos x="T62" y="T63"/>
                          </a:cxn>
                          <a:cxn ang="T106">
                            <a:pos x="T64" y="T65"/>
                          </a:cxn>
                          <a:cxn ang="T107">
                            <a:pos x="T66" y="T67"/>
                          </a:cxn>
                          <a:cxn ang="T108">
                            <a:pos x="T68" y="T69"/>
                          </a:cxn>
                          <a:cxn ang="T109">
                            <a:pos x="T70" y="T71"/>
                          </a:cxn>
                          <a:cxn ang="T110">
                            <a:pos x="T72" y="T73"/>
                          </a:cxn>
                        </a:cxnLst>
                        <a:rect l="T111" t="T112" r="T113" b="T114"/>
                        <a:pathLst>
                          <a:path w="610" h="630">
                            <a:moveTo>
                              <a:pt x="372" y="23"/>
                            </a:moveTo>
                            <a:lnTo>
                              <a:pt x="410" y="85"/>
                            </a:lnTo>
                            <a:lnTo>
                              <a:pt x="419" y="120"/>
                            </a:lnTo>
                            <a:lnTo>
                              <a:pt x="447" y="156"/>
                            </a:lnTo>
                            <a:lnTo>
                              <a:pt x="457" y="189"/>
                            </a:lnTo>
                            <a:lnTo>
                              <a:pt x="469" y="186"/>
                            </a:lnTo>
                            <a:lnTo>
                              <a:pt x="484" y="179"/>
                            </a:lnTo>
                            <a:lnTo>
                              <a:pt x="507" y="173"/>
                            </a:lnTo>
                            <a:lnTo>
                              <a:pt x="534" y="170"/>
                            </a:lnTo>
                            <a:lnTo>
                              <a:pt x="551" y="171"/>
                            </a:lnTo>
                            <a:lnTo>
                              <a:pt x="563" y="174"/>
                            </a:lnTo>
                            <a:lnTo>
                              <a:pt x="577" y="183"/>
                            </a:lnTo>
                            <a:lnTo>
                              <a:pt x="592" y="201"/>
                            </a:lnTo>
                            <a:lnTo>
                              <a:pt x="605" y="221"/>
                            </a:lnTo>
                            <a:lnTo>
                              <a:pt x="609" y="240"/>
                            </a:lnTo>
                            <a:lnTo>
                              <a:pt x="610" y="259"/>
                            </a:lnTo>
                            <a:lnTo>
                              <a:pt x="607" y="278"/>
                            </a:lnTo>
                            <a:lnTo>
                              <a:pt x="595" y="297"/>
                            </a:lnTo>
                            <a:lnTo>
                              <a:pt x="575" y="307"/>
                            </a:lnTo>
                            <a:lnTo>
                              <a:pt x="560" y="309"/>
                            </a:lnTo>
                            <a:lnTo>
                              <a:pt x="541" y="310"/>
                            </a:lnTo>
                            <a:lnTo>
                              <a:pt x="519" y="308"/>
                            </a:lnTo>
                            <a:lnTo>
                              <a:pt x="504" y="301"/>
                            </a:lnTo>
                            <a:lnTo>
                              <a:pt x="490" y="294"/>
                            </a:lnTo>
                            <a:lnTo>
                              <a:pt x="507" y="336"/>
                            </a:lnTo>
                            <a:lnTo>
                              <a:pt x="510" y="368"/>
                            </a:lnTo>
                            <a:lnTo>
                              <a:pt x="480" y="359"/>
                            </a:lnTo>
                            <a:lnTo>
                              <a:pt x="455" y="357"/>
                            </a:lnTo>
                            <a:lnTo>
                              <a:pt x="437" y="357"/>
                            </a:lnTo>
                            <a:lnTo>
                              <a:pt x="419" y="363"/>
                            </a:lnTo>
                            <a:lnTo>
                              <a:pt x="403" y="369"/>
                            </a:lnTo>
                            <a:lnTo>
                              <a:pt x="387" y="378"/>
                            </a:lnTo>
                            <a:lnTo>
                              <a:pt x="371" y="393"/>
                            </a:lnTo>
                            <a:lnTo>
                              <a:pt x="352" y="411"/>
                            </a:lnTo>
                            <a:lnTo>
                              <a:pt x="346" y="431"/>
                            </a:lnTo>
                            <a:lnTo>
                              <a:pt x="346" y="453"/>
                            </a:lnTo>
                            <a:lnTo>
                              <a:pt x="352" y="465"/>
                            </a:lnTo>
                            <a:lnTo>
                              <a:pt x="366" y="475"/>
                            </a:lnTo>
                            <a:lnTo>
                              <a:pt x="383" y="478"/>
                            </a:lnTo>
                            <a:lnTo>
                              <a:pt x="396" y="480"/>
                            </a:lnTo>
                            <a:lnTo>
                              <a:pt x="416" y="479"/>
                            </a:lnTo>
                            <a:lnTo>
                              <a:pt x="428" y="473"/>
                            </a:lnTo>
                            <a:lnTo>
                              <a:pt x="447" y="467"/>
                            </a:lnTo>
                            <a:lnTo>
                              <a:pt x="457" y="462"/>
                            </a:lnTo>
                            <a:lnTo>
                              <a:pt x="474" y="447"/>
                            </a:lnTo>
                            <a:lnTo>
                              <a:pt x="490" y="438"/>
                            </a:lnTo>
                            <a:lnTo>
                              <a:pt x="507" y="438"/>
                            </a:lnTo>
                            <a:lnTo>
                              <a:pt x="521" y="450"/>
                            </a:lnTo>
                            <a:lnTo>
                              <a:pt x="524" y="458"/>
                            </a:lnTo>
                            <a:lnTo>
                              <a:pt x="507" y="470"/>
                            </a:lnTo>
                            <a:lnTo>
                              <a:pt x="524" y="492"/>
                            </a:lnTo>
                            <a:lnTo>
                              <a:pt x="531" y="515"/>
                            </a:lnTo>
                            <a:lnTo>
                              <a:pt x="521" y="534"/>
                            </a:lnTo>
                            <a:lnTo>
                              <a:pt x="467" y="557"/>
                            </a:lnTo>
                            <a:lnTo>
                              <a:pt x="424" y="560"/>
                            </a:lnTo>
                            <a:lnTo>
                              <a:pt x="356" y="577"/>
                            </a:lnTo>
                            <a:lnTo>
                              <a:pt x="319" y="577"/>
                            </a:lnTo>
                            <a:lnTo>
                              <a:pt x="305" y="577"/>
                            </a:lnTo>
                            <a:lnTo>
                              <a:pt x="290" y="604"/>
                            </a:lnTo>
                            <a:lnTo>
                              <a:pt x="276" y="626"/>
                            </a:lnTo>
                            <a:lnTo>
                              <a:pt x="164" y="630"/>
                            </a:lnTo>
                            <a:lnTo>
                              <a:pt x="137" y="603"/>
                            </a:lnTo>
                            <a:lnTo>
                              <a:pt x="107" y="574"/>
                            </a:lnTo>
                            <a:lnTo>
                              <a:pt x="64" y="537"/>
                            </a:lnTo>
                            <a:lnTo>
                              <a:pt x="27" y="482"/>
                            </a:lnTo>
                            <a:lnTo>
                              <a:pt x="11" y="405"/>
                            </a:lnTo>
                            <a:lnTo>
                              <a:pt x="0" y="294"/>
                            </a:lnTo>
                            <a:lnTo>
                              <a:pt x="14" y="216"/>
                            </a:lnTo>
                            <a:lnTo>
                              <a:pt x="41" y="143"/>
                            </a:lnTo>
                            <a:lnTo>
                              <a:pt x="96" y="71"/>
                            </a:lnTo>
                            <a:lnTo>
                              <a:pt x="164" y="32"/>
                            </a:lnTo>
                            <a:lnTo>
                              <a:pt x="234" y="6"/>
                            </a:lnTo>
                            <a:lnTo>
                              <a:pt x="302" y="0"/>
                            </a:lnTo>
                            <a:lnTo>
                              <a:pt x="339" y="3"/>
                            </a:lnTo>
                            <a:lnTo>
                              <a:pt x="372" y="23"/>
                            </a:lnTo>
                            <a:close/>
                          </a:path>
                        </a:pathLst>
                      </a:custGeom>
                      <a:solidFill>
                        <a:srgbClr val="FFE0C0"/>
                      </a:solidFill>
                      <a:ln w="1588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id-ID"/>
                      </a:p>
                    </p:txBody>
                  </p:sp>
                  <p:sp>
                    <p:nvSpPr>
                      <p:cNvPr id="114" name="Freeform 171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03" y="1334"/>
                        <a:ext cx="36" cy="45"/>
                      </a:xfrm>
                      <a:custGeom>
                        <a:avLst/>
                        <a:gdLst>
                          <a:gd name="T0" fmla="*/ 0 w 500"/>
                          <a:gd name="T1" fmla="*/ 0 h 594"/>
                          <a:gd name="T2" fmla="*/ 0 w 500"/>
                          <a:gd name="T3" fmla="*/ 0 h 594"/>
                          <a:gd name="T4" fmla="*/ 0 w 500"/>
                          <a:gd name="T5" fmla="*/ 0 h 594"/>
                          <a:gd name="T6" fmla="*/ 0 w 500"/>
                          <a:gd name="T7" fmla="*/ 0 h 594"/>
                          <a:gd name="T8" fmla="*/ 0 w 500"/>
                          <a:gd name="T9" fmla="*/ 0 h 594"/>
                          <a:gd name="T10" fmla="*/ 0 w 500"/>
                          <a:gd name="T11" fmla="*/ 0 h 594"/>
                          <a:gd name="T12" fmla="*/ 0 w 500"/>
                          <a:gd name="T13" fmla="*/ 0 h 594"/>
                          <a:gd name="T14" fmla="*/ 0 w 500"/>
                          <a:gd name="T15" fmla="*/ 0 h 594"/>
                          <a:gd name="T16" fmla="*/ 0 w 500"/>
                          <a:gd name="T17" fmla="*/ 0 h 594"/>
                          <a:gd name="T18" fmla="*/ 0 w 500"/>
                          <a:gd name="T19" fmla="*/ 0 h 594"/>
                          <a:gd name="T20" fmla="*/ 0 w 500"/>
                          <a:gd name="T21" fmla="*/ 0 h 594"/>
                          <a:gd name="T22" fmla="*/ 0 w 500"/>
                          <a:gd name="T23" fmla="*/ 0 h 594"/>
                          <a:gd name="T24" fmla="*/ 0 w 500"/>
                          <a:gd name="T25" fmla="*/ 0 h 594"/>
                          <a:gd name="T26" fmla="*/ 0 w 500"/>
                          <a:gd name="T27" fmla="*/ 0 h 594"/>
                          <a:gd name="T28" fmla="*/ 0 w 500"/>
                          <a:gd name="T29" fmla="*/ 0 h 594"/>
                          <a:gd name="T30" fmla="*/ 0 w 500"/>
                          <a:gd name="T31" fmla="*/ 0 h 594"/>
                          <a:gd name="T32" fmla="*/ 0 w 500"/>
                          <a:gd name="T33" fmla="*/ 0 h 594"/>
                          <a:gd name="T34" fmla="*/ 0 w 500"/>
                          <a:gd name="T35" fmla="*/ 0 h 594"/>
                          <a:gd name="T36" fmla="*/ 0 w 500"/>
                          <a:gd name="T37" fmla="*/ 0 h 594"/>
                          <a:gd name="T38" fmla="*/ 0 w 500"/>
                          <a:gd name="T39" fmla="*/ 0 h 594"/>
                          <a:gd name="T40" fmla="*/ 0 w 500"/>
                          <a:gd name="T41" fmla="*/ 0 h 594"/>
                          <a:gd name="T42" fmla="*/ 0 w 500"/>
                          <a:gd name="T43" fmla="*/ 0 h 594"/>
                          <a:gd name="T44" fmla="*/ 0 w 500"/>
                          <a:gd name="T45" fmla="*/ 0 h 594"/>
                          <a:gd name="T46" fmla="*/ 0 w 500"/>
                          <a:gd name="T47" fmla="*/ 0 h 594"/>
                          <a:gd name="T48" fmla="*/ 0 w 500"/>
                          <a:gd name="T49" fmla="*/ 0 h 594"/>
                          <a:gd name="T50" fmla="*/ 0 w 500"/>
                          <a:gd name="T51" fmla="*/ 0 h 594"/>
                          <a:gd name="T52" fmla="*/ 0 w 500"/>
                          <a:gd name="T53" fmla="*/ 0 h 594"/>
                          <a:gd name="T54" fmla="*/ 0 w 500"/>
                          <a:gd name="T55" fmla="*/ 0 h 594"/>
                          <a:gd name="T56" fmla="*/ 0 w 500"/>
                          <a:gd name="T57" fmla="*/ 0 h 594"/>
                          <a:gd name="T58" fmla="*/ 0 w 500"/>
                          <a:gd name="T59" fmla="*/ 0 h 594"/>
                          <a:gd name="T60" fmla="*/ 0 w 500"/>
                          <a:gd name="T61" fmla="*/ 0 h 594"/>
                          <a:gd name="T62" fmla="*/ 0 w 500"/>
                          <a:gd name="T63" fmla="*/ 0 h 594"/>
                          <a:gd name="T64" fmla="*/ 0 w 500"/>
                          <a:gd name="T65" fmla="*/ 0 h 594"/>
                          <a:gd name="T66" fmla="*/ 0 w 500"/>
                          <a:gd name="T67" fmla="*/ 0 h 594"/>
                          <a:gd name="T68" fmla="*/ 0 w 500"/>
                          <a:gd name="T69" fmla="*/ 0 h 594"/>
                          <a:gd name="T70" fmla="*/ 0 w 500"/>
                          <a:gd name="T71" fmla="*/ 0 h 594"/>
                          <a:gd name="T72" fmla="*/ 0 w 500"/>
                          <a:gd name="T73" fmla="*/ 0 h 594"/>
                          <a:gd name="T74" fmla="*/ 0 w 500"/>
                          <a:gd name="T75" fmla="*/ 0 h 594"/>
                          <a:gd name="T76" fmla="*/ 0 w 500"/>
                          <a:gd name="T77" fmla="*/ 0 h 594"/>
                          <a:gd name="T78" fmla="*/ 0 w 500"/>
                          <a:gd name="T79" fmla="*/ 0 h 594"/>
                          <a:gd name="T80" fmla="*/ 0 w 500"/>
                          <a:gd name="T81" fmla="*/ 0 h 594"/>
                          <a:gd name="T82" fmla="*/ 0 w 500"/>
                          <a:gd name="T83" fmla="*/ 0 h 594"/>
                          <a:gd name="T84" fmla="*/ 0 w 500"/>
                          <a:gd name="T85" fmla="*/ 0 h 594"/>
                          <a:gd name="T86" fmla="*/ 0 w 500"/>
                          <a:gd name="T87" fmla="*/ 0 h 594"/>
                          <a:gd name="T88" fmla="*/ 0 60000 65536"/>
                          <a:gd name="T89" fmla="*/ 0 60000 65536"/>
                          <a:gd name="T90" fmla="*/ 0 60000 65536"/>
                          <a:gd name="T91" fmla="*/ 0 60000 65536"/>
                          <a:gd name="T92" fmla="*/ 0 60000 65536"/>
                          <a:gd name="T93" fmla="*/ 0 60000 65536"/>
                          <a:gd name="T94" fmla="*/ 0 60000 65536"/>
                          <a:gd name="T95" fmla="*/ 0 60000 65536"/>
                          <a:gd name="T96" fmla="*/ 0 60000 65536"/>
                          <a:gd name="T97" fmla="*/ 0 60000 65536"/>
                          <a:gd name="T98" fmla="*/ 0 60000 65536"/>
                          <a:gd name="T99" fmla="*/ 0 60000 65536"/>
                          <a:gd name="T100" fmla="*/ 0 60000 65536"/>
                          <a:gd name="T101" fmla="*/ 0 60000 65536"/>
                          <a:gd name="T102" fmla="*/ 0 60000 65536"/>
                          <a:gd name="T103" fmla="*/ 0 60000 65536"/>
                          <a:gd name="T104" fmla="*/ 0 60000 65536"/>
                          <a:gd name="T105" fmla="*/ 0 60000 65536"/>
                          <a:gd name="T106" fmla="*/ 0 60000 65536"/>
                          <a:gd name="T107" fmla="*/ 0 60000 65536"/>
                          <a:gd name="T108" fmla="*/ 0 60000 65536"/>
                          <a:gd name="T109" fmla="*/ 0 60000 65536"/>
                          <a:gd name="T110" fmla="*/ 0 60000 65536"/>
                          <a:gd name="T111" fmla="*/ 0 60000 65536"/>
                          <a:gd name="T112" fmla="*/ 0 60000 65536"/>
                          <a:gd name="T113" fmla="*/ 0 60000 65536"/>
                          <a:gd name="T114" fmla="*/ 0 60000 65536"/>
                          <a:gd name="T115" fmla="*/ 0 60000 65536"/>
                          <a:gd name="T116" fmla="*/ 0 60000 65536"/>
                          <a:gd name="T117" fmla="*/ 0 60000 65536"/>
                          <a:gd name="T118" fmla="*/ 0 60000 65536"/>
                          <a:gd name="T119" fmla="*/ 0 60000 65536"/>
                          <a:gd name="T120" fmla="*/ 0 60000 65536"/>
                          <a:gd name="T121" fmla="*/ 0 60000 65536"/>
                          <a:gd name="T122" fmla="*/ 0 60000 65536"/>
                          <a:gd name="T123" fmla="*/ 0 60000 65536"/>
                          <a:gd name="T124" fmla="*/ 0 60000 65536"/>
                          <a:gd name="T125" fmla="*/ 0 60000 65536"/>
                          <a:gd name="T126" fmla="*/ 0 60000 65536"/>
                          <a:gd name="T127" fmla="*/ 0 60000 65536"/>
                          <a:gd name="T128" fmla="*/ 0 60000 65536"/>
                          <a:gd name="T129" fmla="*/ 0 60000 65536"/>
                          <a:gd name="T130" fmla="*/ 0 60000 65536"/>
                          <a:gd name="T131" fmla="*/ 0 60000 65536"/>
                          <a:gd name="T132" fmla="*/ 0 w 500"/>
                          <a:gd name="T133" fmla="*/ 0 h 594"/>
                          <a:gd name="T134" fmla="*/ 500 w 500"/>
                          <a:gd name="T135" fmla="*/ 594 h 594"/>
                        </a:gdLst>
                        <a:ahLst/>
                        <a:cxnLst>
                          <a:cxn ang="T88">
                            <a:pos x="T0" y="T1"/>
                          </a:cxn>
                          <a:cxn ang="T89">
                            <a:pos x="T2" y="T3"/>
                          </a:cxn>
                          <a:cxn ang="T90">
                            <a:pos x="T4" y="T5"/>
                          </a:cxn>
                          <a:cxn ang="T91">
                            <a:pos x="T6" y="T7"/>
                          </a:cxn>
                          <a:cxn ang="T92">
                            <a:pos x="T8" y="T9"/>
                          </a:cxn>
                          <a:cxn ang="T93">
                            <a:pos x="T10" y="T11"/>
                          </a:cxn>
                          <a:cxn ang="T94">
                            <a:pos x="T12" y="T13"/>
                          </a:cxn>
                          <a:cxn ang="T95">
                            <a:pos x="T14" y="T15"/>
                          </a:cxn>
                          <a:cxn ang="T96">
                            <a:pos x="T16" y="T17"/>
                          </a:cxn>
                          <a:cxn ang="T97">
                            <a:pos x="T18" y="T19"/>
                          </a:cxn>
                          <a:cxn ang="T98">
                            <a:pos x="T20" y="T21"/>
                          </a:cxn>
                          <a:cxn ang="T99">
                            <a:pos x="T22" y="T23"/>
                          </a:cxn>
                          <a:cxn ang="T100">
                            <a:pos x="T24" y="T25"/>
                          </a:cxn>
                          <a:cxn ang="T101">
                            <a:pos x="T26" y="T27"/>
                          </a:cxn>
                          <a:cxn ang="T102">
                            <a:pos x="T28" y="T29"/>
                          </a:cxn>
                          <a:cxn ang="T103">
                            <a:pos x="T30" y="T31"/>
                          </a:cxn>
                          <a:cxn ang="T104">
                            <a:pos x="T32" y="T33"/>
                          </a:cxn>
                          <a:cxn ang="T105">
                            <a:pos x="T34" y="T35"/>
                          </a:cxn>
                          <a:cxn ang="T106">
                            <a:pos x="T36" y="T37"/>
                          </a:cxn>
                          <a:cxn ang="T107">
                            <a:pos x="T38" y="T39"/>
                          </a:cxn>
                          <a:cxn ang="T108">
                            <a:pos x="T40" y="T41"/>
                          </a:cxn>
                          <a:cxn ang="T109">
                            <a:pos x="T42" y="T43"/>
                          </a:cxn>
                          <a:cxn ang="T110">
                            <a:pos x="T44" y="T45"/>
                          </a:cxn>
                          <a:cxn ang="T111">
                            <a:pos x="T46" y="T47"/>
                          </a:cxn>
                          <a:cxn ang="T112">
                            <a:pos x="T48" y="T49"/>
                          </a:cxn>
                          <a:cxn ang="T113">
                            <a:pos x="T50" y="T51"/>
                          </a:cxn>
                          <a:cxn ang="T114">
                            <a:pos x="T52" y="T53"/>
                          </a:cxn>
                          <a:cxn ang="T115">
                            <a:pos x="T54" y="T55"/>
                          </a:cxn>
                          <a:cxn ang="T116">
                            <a:pos x="T56" y="T57"/>
                          </a:cxn>
                          <a:cxn ang="T117">
                            <a:pos x="T58" y="T59"/>
                          </a:cxn>
                          <a:cxn ang="T118">
                            <a:pos x="T60" y="T61"/>
                          </a:cxn>
                          <a:cxn ang="T119">
                            <a:pos x="T62" y="T63"/>
                          </a:cxn>
                          <a:cxn ang="T120">
                            <a:pos x="T64" y="T65"/>
                          </a:cxn>
                          <a:cxn ang="T121">
                            <a:pos x="T66" y="T67"/>
                          </a:cxn>
                          <a:cxn ang="T122">
                            <a:pos x="T68" y="T69"/>
                          </a:cxn>
                          <a:cxn ang="T123">
                            <a:pos x="T70" y="T71"/>
                          </a:cxn>
                          <a:cxn ang="T124">
                            <a:pos x="T72" y="T73"/>
                          </a:cxn>
                          <a:cxn ang="T125">
                            <a:pos x="T74" y="T75"/>
                          </a:cxn>
                          <a:cxn ang="T126">
                            <a:pos x="T76" y="T77"/>
                          </a:cxn>
                          <a:cxn ang="T127">
                            <a:pos x="T78" y="T79"/>
                          </a:cxn>
                          <a:cxn ang="T128">
                            <a:pos x="T80" y="T81"/>
                          </a:cxn>
                          <a:cxn ang="T129">
                            <a:pos x="T82" y="T83"/>
                          </a:cxn>
                          <a:cxn ang="T130">
                            <a:pos x="T84" y="T85"/>
                          </a:cxn>
                          <a:cxn ang="T131">
                            <a:pos x="T86" y="T87"/>
                          </a:cxn>
                        </a:cxnLst>
                        <a:rect l="T132" t="T133" r="T134" b="T135"/>
                        <a:pathLst>
                          <a:path w="500" h="594">
                            <a:moveTo>
                              <a:pt x="500" y="98"/>
                            </a:moveTo>
                            <a:lnTo>
                              <a:pt x="480" y="62"/>
                            </a:lnTo>
                            <a:lnTo>
                              <a:pt x="453" y="35"/>
                            </a:lnTo>
                            <a:lnTo>
                              <a:pt x="397" y="9"/>
                            </a:lnTo>
                            <a:lnTo>
                              <a:pt x="356" y="0"/>
                            </a:lnTo>
                            <a:lnTo>
                              <a:pt x="306" y="40"/>
                            </a:lnTo>
                            <a:lnTo>
                              <a:pt x="278" y="17"/>
                            </a:lnTo>
                            <a:lnTo>
                              <a:pt x="224" y="75"/>
                            </a:lnTo>
                            <a:lnTo>
                              <a:pt x="161" y="111"/>
                            </a:lnTo>
                            <a:lnTo>
                              <a:pt x="101" y="146"/>
                            </a:lnTo>
                            <a:lnTo>
                              <a:pt x="67" y="189"/>
                            </a:lnTo>
                            <a:lnTo>
                              <a:pt x="23" y="169"/>
                            </a:lnTo>
                            <a:lnTo>
                              <a:pt x="26" y="225"/>
                            </a:lnTo>
                            <a:lnTo>
                              <a:pt x="3" y="271"/>
                            </a:lnTo>
                            <a:lnTo>
                              <a:pt x="0" y="330"/>
                            </a:lnTo>
                            <a:lnTo>
                              <a:pt x="17" y="399"/>
                            </a:lnTo>
                            <a:lnTo>
                              <a:pt x="37" y="451"/>
                            </a:lnTo>
                            <a:lnTo>
                              <a:pt x="73" y="510"/>
                            </a:lnTo>
                            <a:lnTo>
                              <a:pt x="128" y="561"/>
                            </a:lnTo>
                            <a:lnTo>
                              <a:pt x="164" y="587"/>
                            </a:lnTo>
                            <a:lnTo>
                              <a:pt x="205" y="594"/>
                            </a:lnTo>
                            <a:lnTo>
                              <a:pt x="245" y="580"/>
                            </a:lnTo>
                            <a:lnTo>
                              <a:pt x="259" y="571"/>
                            </a:lnTo>
                            <a:lnTo>
                              <a:pt x="235" y="544"/>
                            </a:lnTo>
                            <a:lnTo>
                              <a:pt x="218" y="524"/>
                            </a:lnTo>
                            <a:lnTo>
                              <a:pt x="206" y="493"/>
                            </a:lnTo>
                            <a:lnTo>
                              <a:pt x="200" y="460"/>
                            </a:lnTo>
                            <a:lnTo>
                              <a:pt x="205" y="432"/>
                            </a:lnTo>
                            <a:lnTo>
                              <a:pt x="219" y="411"/>
                            </a:lnTo>
                            <a:lnTo>
                              <a:pt x="236" y="398"/>
                            </a:lnTo>
                            <a:lnTo>
                              <a:pt x="254" y="392"/>
                            </a:lnTo>
                            <a:lnTo>
                              <a:pt x="277" y="389"/>
                            </a:lnTo>
                            <a:lnTo>
                              <a:pt x="298" y="396"/>
                            </a:lnTo>
                            <a:lnTo>
                              <a:pt x="322" y="402"/>
                            </a:lnTo>
                            <a:lnTo>
                              <a:pt x="339" y="405"/>
                            </a:lnTo>
                            <a:lnTo>
                              <a:pt x="376" y="373"/>
                            </a:lnTo>
                            <a:lnTo>
                              <a:pt x="369" y="333"/>
                            </a:lnTo>
                            <a:lnTo>
                              <a:pt x="359" y="291"/>
                            </a:lnTo>
                            <a:lnTo>
                              <a:pt x="345" y="271"/>
                            </a:lnTo>
                            <a:lnTo>
                              <a:pt x="380" y="242"/>
                            </a:lnTo>
                            <a:lnTo>
                              <a:pt x="389" y="199"/>
                            </a:lnTo>
                            <a:lnTo>
                              <a:pt x="413" y="154"/>
                            </a:lnTo>
                            <a:lnTo>
                              <a:pt x="444" y="134"/>
                            </a:lnTo>
                            <a:lnTo>
                              <a:pt x="500" y="98"/>
                            </a:lnTo>
                            <a:close/>
                          </a:path>
                        </a:pathLst>
                      </a:custGeom>
                      <a:solidFill>
                        <a:srgbClr val="A05000"/>
                      </a:solidFill>
                      <a:ln w="1588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id-ID"/>
                      </a:p>
                    </p:txBody>
                  </p:sp>
                  <p:grpSp>
                    <p:nvGrpSpPr>
                      <p:cNvPr id="115" name="Group 1714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636" y="1346"/>
                        <a:ext cx="8" cy="11"/>
                        <a:chOff x="636" y="1346"/>
                        <a:chExt cx="8" cy="11"/>
                      </a:xfrm>
                    </p:grpSpPr>
                    <p:sp>
                      <p:nvSpPr>
                        <p:cNvPr id="120" name="Oval 1715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636" y="1346"/>
                          <a:ext cx="8" cy="11"/>
                        </a:xfrm>
                        <a:prstGeom prst="ellipse">
                          <a:avLst/>
                        </a:prstGeom>
                        <a:solidFill>
                          <a:srgbClr val="FFFFFF"/>
                        </a:solidFill>
                        <a:ln w="1588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831526"/>
                          <a:endParaRPr lang="ko-KR" altLang="en-US" sz="1671">
                            <a:solidFill>
                              <a:srgbClr val="000000"/>
                            </a:solidFill>
                            <a:latin typeface="Malgun Gothic" pitchFamily="34" charset="-127"/>
                          </a:endParaRPr>
                        </a:p>
                      </p:txBody>
                    </p:sp>
                    <p:sp>
                      <p:nvSpPr>
                        <p:cNvPr id="121" name="Oval 1716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639" y="1348"/>
                          <a:ext cx="4" cy="6"/>
                        </a:xfrm>
                        <a:prstGeom prst="ellipse">
                          <a:avLst/>
                        </a:prstGeom>
                        <a:solidFill>
                          <a:srgbClr val="00A000"/>
                        </a:solidFill>
                        <a:ln w="1588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831526"/>
                          <a:endParaRPr lang="ko-KR" altLang="en-US" sz="1671">
                            <a:solidFill>
                              <a:srgbClr val="000000"/>
                            </a:solidFill>
                            <a:latin typeface="Malgun Gothic" pitchFamily="34" charset="-127"/>
                          </a:endParaRPr>
                        </a:p>
                      </p:txBody>
                    </p:sp>
                    <p:sp>
                      <p:nvSpPr>
                        <p:cNvPr id="122" name="Oval 1717"/>
                        <p:cNvSpPr>
                          <a:spLocks noChangeArrowheads="1"/>
                        </p:cNvSpPr>
                        <p:nvPr/>
                      </p:nvSpPr>
                      <p:spPr bwMode="auto">
                        <a:xfrm>
                          <a:off x="640" y="1349"/>
                          <a:ext cx="2" cy="3"/>
                        </a:xfrm>
                        <a:prstGeom prst="ellipse">
                          <a:avLst/>
                        </a:prstGeom>
                        <a:solidFill>
                          <a:srgbClr val="C0FFC0"/>
                        </a:solidFill>
                        <a:ln w="1588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pPr defTabSz="831526"/>
                          <a:endParaRPr lang="ko-KR" altLang="en-US" sz="1671">
                            <a:solidFill>
                              <a:srgbClr val="000000"/>
                            </a:solidFill>
                            <a:latin typeface="Malgun Gothic" pitchFamily="34" charset="-127"/>
                          </a:endParaRPr>
                        </a:p>
                      </p:txBody>
                    </p:sp>
                  </p:grpSp>
                  <p:grpSp>
                    <p:nvGrpSpPr>
                      <p:cNvPr id="116" name="Group 1718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633" y="1344"/>
                        <a:ext cx="5" cy="15"/>
                        <a:chOff x="633" y="1344"/>
                        <a:chExt cx="5" cy="15"/>
                      </a:xfrm>
                    </p:grpSpPr>
                    <p:sp>
                      <p:nvSpPr>
                        <p:cNvPr id="118" name="Freeform 1719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34" y="1354"/>
                          <a:ext cx="3" cy="5"/>
                        </a:xfrm>
                        <a:custGeom>
                          <a:avLst/>
                          <a:gdLst>
                            <a:gd name="T0" fmla="*/ 0 w 47"/>
                            <a:gd name="T1" fmla="*/ 0 h 56"/>
                            <a:gd name="T2" fmla="*/ 0 w 47"/>
                            <a:gd name="T3" fmla="*/ 0 h 56"/>
                            <a:gd name="T4" fmla="*/ 0 w 47"/>
                            <a:gd name="T5" fmla="*/ 0 h 56"/>
                            <a:gd name="T6" fmla="*/ 0 60000 65536"/>
                            <a:gd name="T7" fmla="*/ 0 60000 65536"/>
                            <a:gd name="T8" fmla="*/ 0 60000 65536"/>
                            <a:gd name="T9" fmla="*/ 0 w 47"/>
                            <a:gd name="T10" fmla="*/ 0 h 56"/>
                            <a:gd name="T11" fmla="*/ 47 w 47"/>
                            <a:gd name="T12" fmla="*/ 56 h 56"/>
                          </a:gdLst>
                          <a:ahLst/>
                          <a:cxnLst>
                            <a:cxn ang="T6">
                              <a:pos x="T0" y="T1"/>
                            </a:cxn>
                            <a:cxn ang="T7">
                              <a:pos x="T2" y="T3"/>
                            </a:cxn>
                            <a:cxn ang="T8">
                              <a:pos x="T4" y="T5"/>
                            </a:cxn>
                          </a:cxnLst>
                          <a:rect l="T9" t="T10" r="T11" b="T12"/>
                          <a:pathLst>
                            <a:path w="47" h="56">
                              <a:moveTo>
                                <a:pt x="0" y="17"/>
                              </a:moveTo>
                              <a:lnTo>
                                <a:pt x="47" y="0"/>
                              </a:lnTo>
                              <a:lnTo>
                                <a:pt x="33" y="56"/>
                              </a:lnTo>
                            </a:path>
                          </a:pathLst>
                        </a:custGeom>
                        <a:noFill/>
                        <a:ln w="1588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endParaRPr lang="id-ID"/>
                        </a:p>
                      </p:txBody>
                    </p:sp>
                    <p:sp>
                      <p:nvSpPr>
                        <p:cNvPr id="119" name="Freeform 1720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33" y="1344"/>
                          <a:ext cx="5" cy="7"/>
                        </a:xfrm>
                        <a:custGeom>
                          <a:avLst/>
                          <a:gdLst>
                            <a:gd name="T0" fmla="*/ 0 w 71"/>
                            <a:gd name="T1" fmla="*/ 0 h 89"/>
                            <a:gd name="T2" fmla="*/ 0 w 71"/>
                            <a:gd name="T3" fmla="*/ 0 h 89"/>
                            <a:gd name="T4" fmla="*/ 0 w 71"/>
                            <a:gd name="T5" fmla="*/ 0 h 89"/>
                            <a:gd name="T6" fmla="*/ 0 w 71"/>
                            <a:gd name="T7" fmla="*/ 0 h 89"/>
                            <a:gd name="T8" fmla="*/ 0 w 71"/>
                            <a:gd name="T9" fmla="*/ 0 h 89"/>
                            <a:gd name="T10" fmla="*/ 0 60000 65536"/>
                            <a:gd name="T11" fmla="*/ 0 60000 65536"/>
                            <a:gd name="T12" fmla="*/ 0 60000 65536"/>
                            <a:gd name="T13" fmla="*/ 0 60000 65536"/>
                            <a:gd name="T14" fmla="*/ 0 60000 65536"/>
                            <a:gd name="T15" fmla="*/ 0 w 71"/>
                            <a:gd name="T16" fmla="*/ 0 h 89"/>
                            <a:gd name="T17" fmla="*/ 71 w 71"/>
                            <a:gd name="T18" fmla="*/ 89 h 89"/>
                          </a:gdLst>
                          <a:ahLst/>
                          <a:cxnLst>
                            <a:cxn ang="T10">
                              <a:pos x="T0" y="T1"/>
                            </a:cxn>
                            <a:cxn ang="T11">
                              <a:pos x="T2" y="T3"/>
                            </a:cxn>
                            <a:cxn ang="T12">
                              <a:pos x="T4" y="T5"/>
                            </a:cxn>
                            <a:cxn ang="T13">
                              <a:pos x="T6" y="T7"/>
                            </a:cxn>
                            <a:cxn ang="T14">
                              <a:pos x="T8" y="T9"/>
                            </a:cxn>
                          </a:cxnLst>
                          <a:rect l="T15" t="T16" r="T17" b="T18"/>
                          <a:pathLst>
                            <a:path w="71" h="89">
                              <a:moveTo>
                                <a:pt x="71" y="0"/>
                              </a:moveTo>
                              <a:lnTo>
                                <a:pt x="43" y="17"/>
                              </a:lnTo>
                              <a:lnTo>
                                <a:pt x="19" y="35"/>
                              </a:lnTo>
                              <a:lnTo>
                                <a:pt x="5" y="61"/>
                              </a:lnTo>
                              <a:lnTo>
                                <a:pt x="0" y="89"/>
                              </a:lnTo>
                            </a:path>
                          </a:pathLst>
                        </a:custGeom>
                        <a:noFill/>
                        <a:ln w="1588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:ln>
                      </p:spPr>
                      <p:txBody>
                        <a:bodyPr/>
                        <a:lstStyle/>
                        <a:p>
                          <a:endParaRPr lang="id-ID"/>
                        </a:p>
                      </p:txBody>
                    </p:sp>
                  </p:grpSp>
                  <p:sp>
                    <p:nvSpPr>
                      <p:cNvPr id="117" name="Freeform 172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19" y="1367"/>
                        <a:ext cx="5" cy="7"/>
                      </a:xfrm>
                      <a:custGeom>
                        <a:avLst/>
                        <a:gdLst>
                          <a:gd name="T0" fmla="*/ 0 w 73"/>
                          <a:gd name="T1" fmla="*/ 0 h 90"/>
                          <a:gd name="T2" fmla="*/ 0 w 73"/>
                          <a:gd name="T3" fmla="*/ 0 h 90"/>
                          <a:gd name="T4" fmla="*/ 0 w 73"/>
                          <a:gd name="T5" fmla="*/ 0 h 90"/>
                          <a:gd name="T6" fmla="*/ 0 w 73"/>
                          <a:gd name="T7" fmla="*/ 0 h 90"/>
                          <a:gd name="T8" fmla="*/ 0 w 73"/>
                          <a:gd name="T9" fmla="*/ 0 h 90"/>
                          <a:gd name="T10" fmla="*/ 0 w 73"/>
                          <a:gd name="T11" fmla="*/ 0 h 90"/>
                          <a:gd name="T12" fmla="*/ 0 w 73"/>
                          <a:gd name="T13" fmla="*/ 0 h 90"/>
                          <a:gd name="T14" fmla="*/ 0 w 73"/>
                          <a:gd name="T15" fmla="*/ 0 h 90"/>
                          <a:gd name="T16" fmla="*/ 0 w 73"/>
                          <a:gd name="T17" fmla="*/ 0 h 90"/>
                          <a:gd name="T18" fmla="*/ 0 w 73"/>
                          <a:gd name="T19" fmla="*/ 0 h 90"/>
                          <a:gd name="T20" fmla="*/ 0 w 73"/>
                          <a:gd name="T21" fmla="*/ 0 h 90"/>
                          <a:gd name="T22" fmla="*/ 0 w 73"/>
                          <a:gd name="T23" fmla="*/ 0 h 90"/>
                          <a:gd name="T24" fmla="*/ 0 w 73"/>
                          <a:gd name="T25" fmla="*/ 0 h 90"/>
                          <a:gd name="T26" fmla="*/ 0 w 73"/>
                          <a:gd name="T27" fmla="*/ 0 h 90"/>
                          <a:gd name="T28" fmla="*/ 0 w 73"/>
                          <a:gd name="T29" fmla="*/ 0 h 90"/>
                          <a:gd name="T30" fmla="*/ 0 60000 65536"/>
                          <a:gd name="T31" fmla="*/ 0 60000 65536"/>
                          <a:gd name="T32" fmla="*/ 0 60000 65536"/>
                          <a:gd name="T33" fmla="*/ 0 60000 65536"/>
                          <a:gd name="T34" fmla="*/ 0 60000 65536"/>
                          <a:gd name="T35" fmla="*/ 0 60000 65536"/>
                          <a:gd name="T36" fmla="*/ 0 60000 65536"/>
                          <a:gd name="T37" fmla="*/ 0 60000 65536"/>
                          <a:gd name="T38" fmla="*/ 0 60000 65536"/>
                          <a:gd name="T39" fmla="*/ 0 60000 65536"/>
                          <a:gd name="T40" fmla="*/ 0 60000 65536"/>
                          <a:gd name="T41" fmla="*/ 0 60000 65536"/>
                          <a:gd name="T42" fmla="*/ 0 60000 65536"/>
                          <a:gd name="T43" fmla="*/ 0 60000 65536"/>
                          <a:gd name="T44" fmla="*/ 0 60000 65536"/>
                          <a:gd name="T45" fmla="*/ 0 w 73"/>
                          <a:gd name="T46" fmla="*/ 0 h 90"/>
                          <a:gd name="T47" fmla="*/ 73 w 73"/>
                          <a:gd name="T48" fmla="*/ 90 h 90"/>
                        </a:gdLst>
                        <a:ahLst/>
                        <a:cxnLst>
                          <a:cxn ang="T30">
                            <a:pos x="T0" y="T1"/>
                          </a:cxn>
                          <a:cxn ang="T31">
                            <a:pos x="T2" y="T3"/>
                          </a:cxn>
                          <a:cxn ang="T32">
                            <a:pos x="T4" y="T5"/>
                          </a:cxn>
                          <a:cxn ang="T33">
                            <a:pos x="T6" y="T7"/>
                          </a:cxn>
                          <a:cxn ang="T34">
                            <a:pos x="T8" y="T9"/>
                          </a:cxn>
                          <a:cxn ang="T35">
                            <a:pos x="T10" y="T11"/>
                          </a:cxn>
                          <a:cxn ang="T36">
                            <a:pos x="T12" y="T13"/>
                          </a:cxn>
                          <a:cxn ang="T37">
                            <a:pos x="T14" y="T15"/>
                          </a:cxn>
                          <a:cxn ang="T38">
                            <a:pos x="T16" y="T17"/>
                          </a:cxn>
                          <a:cxn ang="T39">
                            <a:pos x="T18" y="T19"/>
                          </a:cxn>
                          <a:cxn ang="T40">
                            <a:pos x="T20" y="T21"/>
                          </a:cxn>
                          <a:cxn ang="T41">
                            <a:pos x="T22" y="T23"/>
                          </a:cxn>
                          <a:cxn ang="T42">
                            <a:pos x="T24" y="T25"/>
                          </a:cxn>
                          <a:cxn ang="T43">
                            <a:pos x="T26" y="T27"/>
                          </a:cxn>
                          <a:cxn ang="T44">
                            <a:pos x="T28" y="T29"/>
                          </a:cxn>
                        </a:cxnLst>
                        <a:rect l="T45" t="T46" r="T47" b="T48"/>
                        <a:pathLst>
                          <a:path w="73" h="90">
                            <a:moveTo>
                              <a:pt x="42" y="0"/>
                            </a:moveTo>
                            <a:lnTo>
                              <a:pt x="20" y="0"/>
                            </a:lnTo>
                            <a:lnTo>
                              <a:pt x="9" y="8"/>
                            </a:lnTo>
                            <a:lnTo>
                              <a:pt x="0" y="35"/>
                            </a:lnTo>
                            <a:lnTo>
                              <a:pt x="4" y="63"/>
                            </a:lnTo>
                            <a:lnTo>
                              <a:pt x="16" y="80"/>
                            </a:lnTo>
                            <a:lnTo>
                              <a:pt x="32" y="90"/>
                            </a:lnTo>
                            <a:lnTo>
                              <a:pt x="51" y="90"/>
                            </a:lnTo>
                            <a:lnTo>
                              <a:pt x="67" y="85"/>
                            </a:lnTo>
                            <a:lnTo>
                              <a:pt x="73" y="68"/>
                            </a:lnTo>
                            <a:lnTo>
                              <a:pt x="73" y="55"/>
                            </a:lnTo>
                            <a:lnTo>
                              <a:pt x="69" y="50"/>
                            </a:lnTo>
                            <a:lnTo>
                              <a:pt x="61" y="43"/>
                            </a:lnTo>
                            <a:lnTo>
                              <a:pt x="45" y="47"/>
                            </a:lnTo>
                            <a:lnTo>
                              <a:pt x="45" y="63"/>
                            </a:lnTo>
                          </a:path>
                        </a:pathLst>
                      </a:custGeom>
                      <a:noFill/>
                      <a:ln w="1588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id-ID"/>
                      </a:p>
                    </p:txBody>
                  </p:sp>
                </p:grpSp>
              </p:grpSp>
            </p:grpSp>
          </p:grpSp>
          <p:grpSp>
            <p:nvGrpSpPr>
              <p:cNvPr id="80" name="Group 1722"/>
              <p:cNvGrpSpPr>
                <a:grpSpLocks/>
              </p:cNvGrpSpPr>
              <p:nvPr/>
            </p:nvGrpSpPr>
            <p:grpSpPr bwMode="auto">
              <a:xfrm>
                <a:off x="670" y="1407"/>
                <a:ext cx="35" cy="23"/>
                <a:chOff x="670" y="1407"/>
                <a:chExt cx="35" cy="23"/>
              </a:xfrm>
            </p:grpSpPr>
            <p:sp>
              <p:nvSpPr>
                <p:cNvPr id="81" name="Freeform 1723"/>
                <p:cNvSpPr>
                  <a:spLocks/>
                </p:cNvSpPr>
                <p:nvPr/>
              </p:nvSpPr>
              <p:spPr bwMode="auto">
                <a:xfrm>
                  <a:off x="677" y="1420"/>
                  <a:ext cx="23" cy="10"/>
                </a:xfrm>
                <a:custGeom>
                  <a:avLst/>
                  <a:gdLst>
                    <a:gd name="T0" fmla="*/ 0 w 313"/>
                    <a:gd name="T1" fmla="*/ 0 h 128"/>
                    <a:gd name="T2" fmla="*/ 0 w 313"/>
                    <a:gd name="T3" fmla="*/ 0 h 128"/>
                    <a:gd name="T4" fmla="*/ 0 w 313"/>
                    <a:gd name="T5" fmla="*/ 0 h 128"/>
                    <a:gd name="T6" fmla="*/ 0 w 313"/>
                    <a:gd name="T7" fmla="*/ 0 h 128"/>
                    <a:gd name="T8" fmla="*/ 0 w 313"/>
                    <a:gd name="T9" fmla="*/ 0 h 128"/>
                    <a:gd name="T10" fmla="*/ 0 w 313"/>
                    <a:gd name="T11" fmla="*/ 0 h 12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13"/>
                    <a:gd name="T19" fmla="*/ 0 h 128"/>
                    <a:gd name="T20" fmla="*/ 313 w 313"/>
                    <a:gd name="T21" fmla="*/ 128 h 12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13" h="128">
                      <a:moveTo>
                        <a:pt x="59" y="128"/>
                      </a:moveTo>
                      <a:lnTo>
                        <a:pt x="0" y="85"/>
                      </a:lnTo>
                      <a:lnTo>
                        <a:pt x="59" y="14"/>
                      </a:lnTo>
                      <a:lnTo>
                        <a:pt x="313" y="0"/>
                      </a:lnTo>
                      <a:lnTo>
                        <a:pt x="222" y="114"/>
                      </a:lnTo>
                      <a:lnTo>
                        <a:pt x="59" y="128"/>
                      </a:lnTo>
                      <a:close/>
                    </a:path>
                  </a:pathLst>
                </a:custGeom>
                <a:solidFill>
                  <a:srgbClr val="FFA04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d-ID"/>
                </a:p>
              </p:txBody>
            </p:sp>
            <p:grpSp>
              <p:nvGrpSpPr>
                <p:cNvPr id="82" name="Group 1724"/>
                <p:cNvGrpSpPr>
                  <a:grpSpLocks/>
                </p:cNvGrpSpPr>
                <p:nvPr/>
              </p:nvGrpSpPr>
              <p:grpSpPr bwMode="auto">
                <a:xfrm>
                  <a:off x="670" y="1407"/>
                  <a:ext cx="35" cy="19"/>
                  <a:chOff x="670" y="1407"/>
                  <a:chExt cx="35" cy="19"/>
                </a:xfrm>
              </p:grpSpPr>
              <p:sp>
                <p:nvSpPr>
                  <p:cNvPr id="83" name="Freeform 1725"/>
                  <p:cNvSpPr>
                    <a:spLocks/>
                  </p:cNvSpPr>
                  <p:nvPr/>
                </p:nvSpPr>
                <p:spPr bwMode="auto">
                  <a:xfrm>
                    <a:off x="670" y="1407"/>
                    <a:ext cx="35" cy="15"/>
                  </a:xfrm>
                  <a:custGeom>
                    <a:avLst/>
                    <a:gdLst>
                      <a:gd name="T0" fmla="*/ 0 w 486"/>
                      <a:gd name="T1" fmla="*/ 0 h 204"/>
                      <a:gd name="T2" fmla="*/ 0 w 486"/>
                      <a:gd name="T3" fmla="*/ 0 h 204"/>
                      <a:gd name="T4" fmla="*/ 0 w 486"/>
                      <a:gd name="T5" fmla="*/ 0 h 204"/>
                      <a:gd name="T6" fmla="*/ 0 w 486"/>
                      <a:gd name="T7" fmla="*/ 0 h 204"/>
                      <a:gd name="T8" fmla="*/ 0 w 486"/>
                      <a:gd name="T9" fmla="*/ 0 h 204"/>
                      <a:gd name="T10" fmla="*/ 0 w 486"/>
                      <a:gd name="T11" fmla="*/ 0 h 20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486"/>
                      <a:gd name="T19" fmla="*/ 0 h 204"/>
                      <a:gd name="T20" fmla="*/ 486 w 486"/>
                      <a:gd name="T21" fmla="*/ 204 h 20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486" h="204">
                        <a:moveTo>
                          <a:pt x="94" y="204"/>
                        </a:moveTo>
                        <a:lnTo>
                          <a:pt x="0" y="138"/>
                        </a:lnTo>
                        <a:lnTo>
                          <a:pt x="94" y="23"/>
                        </a:lnTo>
                        <a:lnTo>
                          <a:pt x="486" y="0"/>
                        </a:lnTo>
                        <a:lnTo>
                          <a:pt x="347" y="182"/>
                        </a:lnTo>
                        <a:lnTo>
                          <a:pt x="94" y="20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  <p:sp>
                <p:nvSpPr>
                  <p:cNvPr id="84" name="Freeform 1726"/>
                  <p:cNvSpPr>
                    <a:spLocks/>
                  </p:cNvSpPr>
                  <p:nvPr/>
                </p:nvSpPr>
                <p:spPr bwMode="auto">
                  <a:xfrm>
                    <a:off x="670" y="1417"/>
                    <a:ext cx="7" cy="9"/>
                  </a:xfrm>
                  <a:custGeom>
                    <a:avLst/>
                    <a:gdLst>
                      <a:gd name="T0" fmla="*/ 0 w 94"/>
                      <a:gd name="T1" fmla="*/ 0 h 111"/>
                      <a:gd name="T2" fmla="*/ 0 w 94"/>
                      <a:gd name="T3" fmla="*/ 0 h 111"/>
                      <a:gd name="T4" fmla="*/ 0 w 94"/>
                      <a:gd name="T5" fmla="*/ 0 h 111"/>
                      <a:gd name="T6" fmla="*/ 0 w 94"/>
                      <a:gd name="T7" fmla="*/ 0 h 111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94"/>
                      <a:gd name="T13" fmla="*/ 0 h 111"/>
                      <a:gd name="T14" fmla="*/ 94 w 94"/>
                      <a:gd name="T15" fmla="*/ 111 h 111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94" h="111">
                        <a:moveTo>
                          <a:pt x="24" y="111"/>
                        </a:moveTo>
                        <a:lnTo>
                          <a:pt x="94" y="66"/>
                        </a:lnTo>
                        <a:lnTo>
                          <a:pt x="0" y="0"/>
                        </a:lnTo>
                        <a:lnTo>
                          <a:pt x="24" y="111"/>
                        </a:lnTo>
                        <a:close/>
                      </a:path>
                    </a:pathLst>
                  </a:custGeom>
                  <a:solidFill>
                    <a:srgbClr val="E0E0E0"/>
                  </a:solidFill>
                  <a:ln w="1588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id-ID"/>
                  </a:p>
                </p:txBody>
              </p:sp>
              <p:grpSp>
                <p:nvGrpSpPr>
                  <p:cNvPr id="85" name="Group 1727"/>
                  <p:cNvGrpSpPr>
                    <a:grpSpLocks/>
                  </p:cNvGrpSpPr>
                  <p:nvPr/>
                </p:nvGrpSpPr>
                <p:grpSpPr bwMode="auto">
                  <a:xfrm>
                    <a:off x="675" y="1409"/>
                    <a:ext cx="25" cy="12"/>
                    <a:chOff x="675" y="1409"/>
                    <a:chExt cx="25" cy="12"/>
                  </a:xfrm>
                </p:grpSpPr>
                <p:sp>
                  <p:nvSpPr>
                    <p:cNvPr id="86" name="Line 1728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692" y="1410"/>
                      <a:ext cx="8" cy="11"/>
                    </a:xfrm>
                    <a:prstGeom prst="line">
                      <a:avLst/>
                    </a:prstGeom>
                    <a:noFill/>
                    <a:ln w="0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id-ID"/>
                    </a:p>
                  </p:txBody>
                </p:sp>
                <p:sp>
                  <p:nvSpPr>
                    <p:cNvPr id="87" name="Line 1729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685" y="1409"/>
                      <a:ext cx="7" cy="12"/>
                    </a:xfrm>
                    <a:prstGeom prst="line">
                      <a:avLst/>
                    </a:prstGeom>
                    <a:noFill/>
                    <a:ln w="0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id-ID"/>
                    </a:p>
                  </p:txBody>
                </p:sp>
                <p:sp>
                  <p:nvSpPr>
                    <p:cNvPr id="88" name="Line 1730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682" y="1411"/>
                      <a:ext cx="5" cy="7"/>
                    </a:xfrm>
                    <a:prstGeom prst="line">
                      <a:avLst/>
                    </a:prstGeom>
                    <a:noFill/>
                    <a:ln w="0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id-ID"/>
                    </a:p>
                  </p:txBody>
                </p:sp>
                <p:sp>
                  <p:nvSpPr>
                    <p:cNvPr id="89" name="Line 1731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675" y="1410"/>
                      <a:ext cx="6" cy="8"/>
                    </a:xfrm>
                    <a:prstGeom prst="line">
                      <a:avLst/>
                    </a:prstGeom>
                    <a:noFill/>
                    <a:ln w="1588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id-ID"/>
                    </a:p>
                  </p:txBody>
                </p:sp>
              </p:grpSp>
            </p:grpSp>
          </p:grpSp>
        </p:grpSp>
        <p:grpSp>
          <p:nvGrpSpPr>
            <p:cNvPr id="69" name="Group 1732"/>
            <p:cNvGrpSpPr>
              <a:grpSpLocks/>
            </p:cNvGrpSpPr>
            <p:nvPr/>
          </p:nvGrpSpPr>
          <p:grpSpPr bwMode="auto">
            <a:xfrm>
              <a:off x="603" y="1320"/>
              <a:ext cx="65" cy="79"/>
              <a:chOff x="603" y="1320"/>
              <a:chExt cx="65" cy="79"/>
            </a:xfrm>
          </p:grpSpPr>
          <p:grpSp>
            <p:nvGrpSpPr>
              <p:cNvPr id="70" name="Group 1733"/>
              <p:cNvGrpSpPr>
                <a:grpSpLocks/>
              </p:cNvGrpSpPr>
              <p:nvPr/>
            </p:nvGrpSpPr>
            <p:grpSpPr bwMode="auto">
              <a:xfrm>
                <a:off x="603" y="1386"/>
                <a:ext cx="8" cy="13"/>
                <a:chOff x="603" y="1386"/>
                <a:chExt cx="8" cy="13"/>
              </a:xfrm>
            </p:grpSpPr>
            <p:sp>
              <p:nvSpPr>
                <p:cNvPr id="76" name="Freeform 1734"/>
                <p:cNvSpPr>
                  <a:spLocks/>
                </p:cNvSpPr>
                <p:nvPr/>
              </p:nvSpPr>
              <p:spPr bwMode="auto">
                <a:xfrm>
                  <a:off x="609" y="1389"/>
                  <a:ext cx="2" cy="9"/>
                </a:xfrm>
                <a:custGeom>
                  <a:avLst/>
                  <a:gdLst>
                    <a:gd name="T0" fmla="*/ 0 w 32"/>
                    <a:gd name="T1" fmla="*/ 0 h 123"/>
                    <a:gd name="T2" fmla="*/ 0 w 32"/>
                    <a:gd name="T3" fmla="*/ 0 h 123"/>
                    <a:gd name="T4" fmla="*/ 0 w 32"/>
                    <a:gd name="T5" fmla="*/ 0 h 123"/>
                    <a:gd name="T6" fmla="*/ 0 w 32"/>
                    <a:gd name="T7" fmla="*/ 0 h 123"/>
                    <a:gd name="T8" fmla="*/ 0 w 32"/>
                    <a:gd name="T9" fmla="*/ 0 h 123"/>
                    <a:gd name="T10" fmla="*/ 0 w 32"/>
                    <a:gd name="T11" fmla="*/ 0 h 1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2"/>
                    <a:gd name="T19" fmla="*/ 0 h 123"/>
                    <a:gd name="T20" fmla="*/ 32 w 32"/>
                    <a:gd name="T21" fmla="*/ 123 h 12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2" h="123">
                      <a:moveTo>
                        <a:pt x="32" y="0"/>
                      </a:moveTo>
                      <a:lnTo>
                        <a:pt x="8" y="25"/>
                      </a:lnTo>
                      <a:lnTo>
                        <a:pt x="0" y="52"/>
                      </a:lnTo>
                      <a:lnTo>
                        <a:pt x="5" y="82"/>
                      </a:lnTo>
                      <a:lnTo>
                        <a:pt x="19" y="109"/>
                      </a:lnTo>
                      <a:lnTo>
                        <a:pt x="29" y="123"/>
                      </a:lnTo>
                    </a:path>
                  </a:pathLst>
                </a:custGeom>
                <a:noFill/>
                <a:ln w="1588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d-ID"/>
                </a:p>
              </p:txBody>
            </p:sp>
            <p:sp>
              <p:nvSpPr>
                <p:cNvPr id="77" name="Freeform 1735"/>
                <p:cNvSpPr>
                  <a:spLocks/>
                </p:cNvSpPr>
                <p:nvPr/>
              </p:nvSpPr>
              <p:spPr bwMode="auto">
                <a:xfrm>
                  <a:off x="603" y="1386"/>
                  <a:ext cx="4" cy="13"/>
                </a:xfrm>
                <a:custGeom>
                  <a:avLst/>
                  <a:gdLst>
                    <a:gd name="T0" fmla="*/ 0 w 53"/>
                    <a:gd name="T1" fmla="*/ 0 h 178"/>
                    <a:gd name="T2" fmla="*/ 0 w 53"/>
                    <a:gd name="T3" fmla="*/ 0 h 178"/>
                    <a:gd name="T4" fmla="*/ 0 w 53"/>
                    <a:gd name="T5" fmla="*/ 0 h 178"/>
                    <a:gd name="T6" fmla="*/ 0 w 53"/>
                    <a:gd name="T7" fmla="*/ 0 h 178"/>
                    <a:gd name="T8" fmla="*/ 0 w 53"/>
                    <a:gd name="T9" fmla="*/ 0 h 178"/>
                    <a:gd name="T10" fmla="*/ 0 w 53"/>
                    <a:gd name="T11" fmla="*/ 0 h 178"/>
                    <a:gd name="T12" fmla="*/ 0 w 53"/>
                    <a:gd name="T13" fmla="*/ 0 h 17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3"/>
                    <a:gd name="T22" fmla="*/ 0 h 178"/>
                    <a:gd name="T23" fmla="*/ 53 w 53"/>
                    <a:gd name="T24" fmla="*/ 178 h 17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3" h="178">
                      <a:moveTo>
                        <a:pt x="53" y="0"/>
                      </a:moveTo>
                      <a:lnTo>
                        <a:pt x="26" y="32"/>
                      </a:lnTo>
                      <a:lnTo>
                        <a:pt x="6" y="65"/>
                      </a:lnTo>
                      <a:lnTo>
                        <a:pt x="0" y="88"/>
                      </a:lnTo>
                      <a:lnTo>
                        <a:pt x="2" y="117"/>
                      </a:lnTo>
                      <a:lnTo>
                        <a:pt x="16" y="145"/>
                      </a:lnTo>
                      <a:lnTo>
                        <a:pt x="45" y="178"/>
                      </a:lnTo>
                    </a:path>
                  </a:pathLst>
                </a:custGeom>
                <a:noFill/>
                <a:ln w="1588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d-ID"/>
                </a:p>
              </p:txBody>
            </p:sp>
          </p:grpSp>
          <p:grpSp>
            <p:nvGrpSpPr>
              <p:cNvPr id="71" name="Group 1736"/>
              <p:cNvGrpSpPr>
                <a:grpSpLocks/>
              </p:cNvGrpSpPr>
              <p:nvPr/>
            </p:nvGrpSpPr>
            <p:grpSpPr bwMode="auto">
              <a:xfrm>
                <a:off x="603" y="1320"/>
                <a:ext cx="65" cy="24"/>
                <a:chOff x="603" y="1320"/>
                <a:chExt cx="65" cy="24"/>
              </a:xfrm>
            </p:grpSpPr>
            <p:sp>
              <p:nvSpPr>
                <p:cNvPr id="72" name="Freeform 1737"/>
                <p:cNvSpPr>
                  <a:spLocks/>
                </p:cNvSpPr>
                <p:nvPr/>
              </p:nvSpPr>
              <p:spPr bwMode="auto">
                <a:xfrm>
                  <a:off x="639" y="1320"/>
                  <a:ext cx="8" cy="6"/>
                </a:xfrm>
                <a:custGeom>
                  <a:avLst/>
                  <a:gdLst>
                    <a:gd name="T0" fmla="*/ 0 w 110"/>
                    <a:gd name="T1" fmla="*/ 0 h 81"/>
                    <a:gd name="T2" fmla="*/ 0 w 110"/>
                    <a:gd name="T3" fmla="*/ 0 h 81"/>
                    <a:gd name="T4" fmla="*/ 0 w 110"/>
                    <a:gd name="T5" fmla="*/ 0 h 81"/>
                    <a:gd name="T6" fmla="*/ 0 w 110"/>
                    <a:gd name="T7" fmla="*/ 0 h 81"/>
                    <a:gd name="T8" fmla="*/ 0 w 110"/>
                    <a:gd name="T9" fmla="*/ 0 h 81"/>
                    <a:gd name="T10" fmla="*/ 0 w 110"/>
                    <a:gd name="T11" fmla="*/ 0 h 81"/>
                    <a:gd name="T12" fmla="*/ 0 w 110"/>
                    <a:gd name="T13" fmla="*/ 0 h 81"/>
                    <a:gd name="T14" fmla="*/ 0 w 110"/>
                    <a:gd name="T15" fmla="*/ 0 h 81"/>
                    <a:gd name="T16" fmla="*/ 0 w 110"/>
                    <a:gd name="T17" fmla="*/ 0 h 81"/>
                    <a:gd name="T18" fmla="*/ 0 w 110"/>
                    <a:gd name="T19" fmla="*/ 0 h 81"/>
                    <a:gd name="T20" fmla="*/ 0 w 110"/>
                    <a:gd name="T21" fmla="*/ 0 h 81"/>
                    <a:gd name="T22" fmla="*/ 0 w 110"/>
                    <a:gd name="T23" fmla="*/ 0 h 81"/>
                    <a:gd name="T24" fmla="*/ 0 w 110"/>
                    <a:gd name="T25" fmla="*/ 0 h 81"/>
                    <a:gd name="T26" fmla="*/ 0 w 110"/>
                    <a:gd name="T27" fmla="*/ 0 h 81"/>
                    <a:gd name="T28" fmla="*/ 0 w 110"/>
                    <a:gd name="T29" fmla="*/ 0 h 81"/>
                    <a:gd name="T30" fmla="*/ 0 w 110"/>
                    <a:gd name="T31" fmla="*/ 0 h 81"/>
                    <a:gd name="T32" fmla="*/ 0 w 110"/>
                    <a:gd name="T33" fmla="*/ 0 h 81"/>
                    <a:gd name="T34" fmla="*/ 0 w 110"/>
                    <a:gd name="T35" fmla="*/ 0 h 81"/>
                    <a:gd name="T36" fmla="*/ 0 w 110"/>
                    <a:gd name="T37" fmla="*/ 0 h 81"/>
                    <a:gd name="T38" fmla="*/ 0 w 110"/>
                    <a:gd name="T39" fmla="*/ 0 h 81"/>
                    <a:gd name="T40" fmla="*/ 0 w 110"/>
                    <a:gd name="T41" fmla="*/ 0 h 81"/>
                    <a:gd name="T42" fmla="*/ 0 w 110"/>
                    <a:gd name="T43" fmla="*/ 0 h 81"/>
                    <a:gd name="T44" fmla="*/ 0 w 110"/>
                    <a:gd name="T45" fmla="*/ 0 h 81"/>
                    <a:gd name="T46" fmla="*/ 0 w 110"/>
                    <a:gd name="T47" fmla="*/ 0 h 81"/>
                    <a:gd name="T48" fmla="*/ 0 w 110"/>
                    <a:gd name="T49" fmla="*/ 0 h 81"/>
                    <a:gd name="T50" fmla="*/ 0 w 110"/>
                    <a:gd name="T51" fmla="*/ 0 h 81"/>
                    <a:gd name="T52" fmla="*/ 0 w 110"/>
                    <a:gd name="T53" fmla="*/ 0 h 81"/>
                    <a:gd name="T54" fmla="*/ 0 w 110"/>
                    <a:gd name="T55" fmla="*/ 0 h 81"/>
                    <a:gd name="T56" fmla="*/ 0 w 110"/>
                    <a:gd name="T57" fmla="*/ 0 h 81"/>
                    <a:gd name="T58" fmla="*/ 0 w 110"/>
                    <a:gd name="T59" fmla="*/ 0 h 81"/>
                    <a:gd name="T60" fmla="*/ 0 w 110"/>
                    <a:gd name="T61" fmla="*/ 0 h 81"/>
                    <a:gd name="T62" fmla="*/ 0 w 110"/>
                    <a:gd name="T63" fmla="*/ 0 h 81"/>
                    <a:gd name="T64" fmla="*/ 0 w 110"/>
                    <a:gd name="T65" fmla="*/ 0 h 81"/>
                    <a:gd name="T66" fmla="*/ 0 w 110"/>
                    <a:gd name="T67" fmla="*/ 0 h 81"/>
                    <a:gd name="T68" fmla="*/ 0 w 110"/>
                    <a:gd name="T69" fmla="*/ 0 h 81"/>
                    <a:gd name="T70" fmla="*/ 0 w 110"/>
                    <a:gd name="T71" fmla="*/ 0 h 81"/>
                    <a:gd name="T72" fmla="*/ 0 w 110"/>
                    <a:gd name="T73" fmla="*/ 0 h 81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110"/>
                    <a:gd name="T112" fmla="*/ 0 h 81"/>
                    <a:gd name="T113" fmla="*/ 110 w 110"/>
                    <a:gd name="T114" fmla="*/ 81 h 81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110" h="81">
                      <a:moveTo>
                        <a:pt x="0" y="81"/>
                      </a:moveTo>
                      <a:lnTo>
                        <a:pt x="3" y="69"/>
                      </a:lnTo>
                      <a:lnTo>
                        <a:pt x="9" y="53"/>
                      </a:lnTo>
                      <a:lnTo>
                        <a:pt x="15" y="40"/>
                      </a:lnTo>
                      <a:lnTo>
                        <a:pt x="22" y="28"/>
                      </a:lnTo>
                      <a:lnTo>
                        <a:pt x="30" y="19"/>
                      </a:lnTo>
                      <a:lnTo>
                        <a:pt x="37" y="11"/>
                      </a:lnTo>
                      <a:lnTo>
                        <a:pt x="46" y="7"/>
                      </a:lnTo>
                      <a:lnTo>
                        <a:pt x="56" y="4"/>
                      </a:lnTo>
                      <a:lnTo>
                        <a:pt x="64" y="0"/>
                      </a:lnTo>
                      <a:lnTo>
                        <a:pt x="76" y="0"/>
                      </a:lnTo>
                      <a:lnTo>
                        <a:pt x="88" y="0"/>
                      </a:lnTo>
                      <a:lnTo>
                        <a:pt x="97" y="1"/>
                      </a:lnTo>
                      <a:lnTo>
                        <a:pt x="102" y="5"/>
                      </a:lnTo>
                      <a:lnTo>
                        <a:pt x="107" y="7"/>
                      </a:lnTo>
                      <a:lnTo>
                        <a:pt x="108" y="10"/>
                      </a:lnTo>
                      <a:lnTo>
                        <a:pt x="110" y="13"/>
                      </a:lnTo>
                      <a:lnTo>
                        <a:pt x="110" y="19"/>
                      </a:lnTo>
                      <a:lnTo>
                        <a:pt x="110" y="26"/>
                      </a:lnTo>
                      <a:lnTo>
                        <a:pt x="107" y="32"/>
                      </a:lnTo>
                      <a:lnTo>
                        <a:pt x="106" y="34"/>
                      </a:lnTo>
                      <a:lnTo>
                        <a:pt x="102" y="38"/>
                      </a:lnTo>
                      <a:lnTo>
                        <a:pt x="97" y="39"/>
                      </a:lnTo>
                      <a:lnTo>
                        <a:pt x="93" y="40"/>
                      </a:lnTo>
                      <a:lnTo>
                        <a:pt x="87" y="41"/>
                      </a:lnTo>
                      <a:lnTo>
                        <a:pt x="80" y="43"/>
                      </a:lnTo>
                      <a:lnTo>
                        <a:pt x="74" y="43"/>
                      </a:lnTo>
                      <a:lnTo>
                        <a:pt x="68" y="41"/>
                      </a:lnTo>
                      <a:lnTo>
                        <a:pt x="60" y="41"/>
                      </a:lnTo>
                      <a:lnTo>
                        <a:pt x="50" y="43"/>
                      </a:lnTo>
                      <a:lnTo>
                        <a:pt x="43" y="45"/>
                      </a:lnTo>
                      <a:lnTo>
                        <a:pt x="36" y="50"/>
                      </a:lnTo>
                      <a:lnTo>
                        <a:pt x="29" y="54"/>
                      </a:lnTo>
                      <a:lnTo>
                        <a:pt x="20" y="60"/>
                      </a:lnTo>
                      <a:lnTo>
                        <a:pt x="12" y="65"/>
                      </a:lnTo>
                      <a:lnTo>
                        <a:pt x="7" y="72"/>
                      </a:lnTo>
                      <a:lnTo>
                        <a:pt x="0" y="81"/>
                      </a:lnTo>
                      <a:close/>
                    </a:path>
                  </a:pathLst>
                </a:custGeom>
                <a:solidFill>
                  <a:srgbClr val="C0FFFF"/>
                </a:solidFill>
                <a:ln w="1588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d-ID"/>
                </a:p>
              </p:txBody>
            </p:sp>
            <p:sp>
              <p:nvSpPr>
                <p:cNvPr id="73" name="Freeform 1738"/>
                <p:cNvSpPr>
                  <a:spLocks/>
                </p:cNvSpPr>
                <p:nvPr/>
              </p:nvSpPr>
              <p:spPr bwMode="auto">
                <a:xfrm>
                  <a:off x="652" y="1329"/>
                  <a:ext cx="7" cy="6"/>
                </a:xfrm>
                <a:custGeom>
                  <a:avLst/>
                  <a:gdLst>
                    <a:gd name="T0" fmla="*/ 0 w 111"/>
                    <a:gd name="T1" fmla="*/ 0 h 81"/>
                    <a:gd name="T2" fmla="*/ 0 w 111"/>
                    <a:gd name="T3" fmla="*/ 0 h 81"/>
                    <a:gd name="T4" fmla="*/ 0 w 111"/>
                    <a:gd name="T5" fmla="*/ 0 h 81"/>
                    <a:gd name="T6" fmla="*/ 0 w 111"/>
                    <a:gd name="T7" fmla="*/ 0 h 81"/>
                    <a:gd name="T8" fmla="*/ 0 w 111"/>
                    <a:gd name="T9" fmla="*/ 0 h 81"/>
                    <a:gd name="T10" fmla="*/ 0 w 111"/>
                    <a:gd name="T11" fmla="*/ 0 h 81"/>
                    <a:gd name="T12" fmla="*/ 0 w 111"/>
                    <a:gd name="T13" fmla="*/ 0 h 81"/>
                    <a:gd name="T14" fmla="*/ 0 w 111"/>
                    <a:gd name="T15" fmla="*/ 0 h 81"/>
                    <a:gd name="T16" fmla="*/ 0 w 111"/>
                    <a:gd name="T17" fmla="*/ 0 h 81"/>
                    <a:gd name="T18" fmla="*/ 0 w 111"/>
                    <a:gd name="T19" fmla="*/ 0 h 81"/>
                    <a:gd name="T20" fmla="*/ 0 w 111"/>
                    <a:gd name="T21" fmla="*/ 0 h 81"/>
                    <a:gd name="T22" fmla="*/ 0 w 111"/>
                    <a:gd name="T23" fmla="*/ 0 h 81"/>
                    <a:gd name="T24" fmla="*/ 0 w 111"/>
                    <a:gd name="T25" fmla="*/ 0 h 81"/>
                    <a:gd name="T26" fmla="*/ 0 w 111"/>
                    <a:gd name="T27" fmla="*/ 0 h 81"/>
                    <a:gd name="T28" fmla="*/ 0 w 111"/>
                    <a:gd name="T29" fmla="*/ 0 h 81"/>
                    <a:gd name="T30" fmla="*/ 0 w 111"/>
                    <a:gd name="T31" fmla="*/ 0 h 81"/>
                    <a:gd name="T32" fmla="*/ 0 w 111"/>
                    <a:gd name="T33" fmla="*/ 0 h 81"/>
                    <a:gd name="T34" fmla="*/ 0 w 111"/>
                    <a:gd name="T35" fmla="*/ 0 h 81"/>
                    <a:gd name="T36" fmla="*/ 0 w 111"/>
                    <a:gd name="T37" fmla="*/ 0 h 81"/>
                    <a:gd name="T38" fmla="*/ 0 w 111"/>
                    <a:gd name="T39" fmla="*/ 0 h 81"/>
                    <a:gd name="T40" fmla="*/ 0 w 111"/>
                    <a:gd name="T41" fmla="*/ 0 h 81"/>
                    <a:gd name="T42" fmla="*/ 0 w 111"/>
                    <a:gd name="T43" fmla="*/ 0 h 81"/>
                    <a:gd name="T44" fmla="*/ 0 w 111"/>
                    <a:gd name="T45" fmla="*/ 0 h 81"/>
                    <a:gd name="T46" fmla="*/ 0 w 111"/>
                    <a:gd name="T47" fmla="*/ 0 h 81"/>
                    <a:gd name="T48" fmla="*/ 0 w 111"/>
                    <a:gd name="T49" fmla="*/ 0 h 81"/>
                    <a:gd name="T50" fmla="*/ 0 w 111"/>
                    <a:gd name="T51" fmla="*/ 0 h 81"/>
                    <a:gd name="T52" fmla="*/ 0 w 111"/>
                    <a:gd name="T53" fmla="*/ 0 h 81"/>
                    <a:gd name="T54" fmla="*/ 0 w 111"/>
                    <a:gd name="T55" fmla="*/ 0 h 81"/>
                    <a:gd name="T56" fmla="*/ 0 w 111"/>
                    <a:gd name="T57" fmla="*/ 0 h 81"/>
                    <a:gd name="T58" fmla="*/ 0 w 111"/>
                    <a:gd name="T59" fmla="*/ 0 h 81"/>
                    <a:gd name="T60" fmla="*/ 0 w 111"/>
                    <a:gd name="T61" fmla="*/ 0 h 81"/>
                    <a:gd name="T62" fmla="*/ 0 w 111"/>
                    <a:gd name="T63" fmla="*/ 0 h 81"/>
                    <a:gd name="T64" fmla="*/ 0 w 111"/>
                    <a:gd name="T65" fmla="*/ 0 h 81"/>
                    <a:gd name="T66" fmla="*/ 0 w 111"/>
                    <a:gd name="T67" fmla="*/ 0 h 81"/>
                    <a:gd name="T68" fmla="*/ 0 w 111"/>
                    <a:gd name="T69" fmla="*/ 0 h 81"/>
                    <a:gd name="T70" fmla="*/ 0 w 111"/>
                    <a:gd name="T71" fmla="*/ 0 h 81"/>
                    <a:gd name="T72" fmla="*/ 0 w 111"/>
                    <a:gd name="T73" fmla="*/ 0 h 81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111"/>
                    <a:gd name="T112" fmla="*/ 0 h 81"/>
                    <a:gd name="T113" fmla="*/ 111 w 111"/>
                    <a:gd name="T114" fmla="*/ 81 h 81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111" h="81">
                      <a:moveTo>
                        <a:pt x="0" y="81"/>
                      </a:moveTo>
                      <a:lnTo>
                        <a:pt x="5" y="70"/>
                      </a:lnTo>
                      <a:lnTo>
                        <a:pt x="9" y="53"/>
                      </a:lnTo>
                      <a:lnTo>
                        <a:pt x="14" y="40"/>
                      </a:lnTo>
                      <a:lnTo>
                        <a:pt x="23" y="30"/>
                      </a:lnTo>
                      <a:lnTo>
                        <a:pt x="32" y="20"/>
                      </a:lnTo>
                      <a:lnTo>
                        <a:pt x="39" y="13"/>
                      </a:lnTo>
                      <a:lnTo>
                        <a:pt x="47" y="7"/>
                      </a:lnTo>
                      <a:lnTo>
                        <a:pt x="56" y="5"/>
                      </a:lnTo>
                      <a:lnTo>
                        <a:pt x="65" y="1"/>
                      </a:lnTo>
                      <a:lnTo>
                        <a:pt x="76" y="0"/>
                      </a:lnTo>
                      <a:lnTo>
                        <a:pt x="89" y="0"/>
                      </a:lnTo>
                      <a:lnTo>
                        <a:pt x="98" y="3"/>
                      </a:lnTo>
                      <a:lnTo>
                        <a:pt x="103" y="5"/>
                      </a:lnTo>
                      <a:lnTo>
                        <a:pt x="108" y="7"/>
                      </a:lnTo>
                      <a:lnTo>
                        <a:pt x="110" y="11"/>
                      </a:lnTo>
                      <a:lnTo>
                        <a:pt x="111" y="14"/>
                      </a:lnTo>
                      <a:lnTo>
                        <a:pt x="111" y="20"/>
                      </a:lnTo>
                      <a:lnTo>
                        <a:pt x="111" y="26"/>
                      </a:lnTo>
                      <a:lnTo>
                        <a:pt x="108" y="32"/>
                      </a:lnTo>
                      <a:lnTo>
                        <a:pt x="105" y="34"/>
                      </a:lnTo>
                      <a:lnTo>
                        <a:pt x="103" y="38"/>
                      </a:lnTo>
                      <a:lnTo>
                        <a:pt x="98" y="39"/>
                      </a:lnTo>
                      <a:lnTo>
                        <a:pt x="93" y="42"/>
                      </a:lnTo>
                      <a:lnTo>
                        <a:pt x="87" y="42"/>
                      </a:lnTo>
                      <a:lnTo>
                        <a:pt x="82" y="44"/>
                      </a:lnTo>
                      <a:lnTo>
                        <a:pt x="75" y="44"/>
                      </a:lnTo>
                      <a:lnTo>
                        <a:pt x="69" y="44"/>
                      </a:lnTo>
                      <a:lnTo>
                        <a:pt x="61" y="42"/>
                      </a:lnTo>
                      <a:lnTo>
                        <a:pt x="51" y="44"/>
                      </a:lnTo>
                      <a:lnTo>
                        <a:pt x="43" y="46"/>
                      </a:lnTo>
                      <a:lnTo>
                        <a:pt x="36" y="50"/>
                      </a:lnTo>
                      <a:lnTo>
                        <a:pt x="29" y="54"/>
                      </a:lnTo>
                      <a:lnTo>
                        <a:pt x="21" y="60"/>
                      </a:lnTo>
                      <a:lnTo>
                        <a:pt x="13" y="66"/>
                      </a:lnTo>
                      <a:lnTo>
                        <a:pt x="8" y="72"/>
                      </a:lnTo>
                      <a:lnTo>
                        <a:pt x="0" y="81"/>
                      </a:lnTo>
                      <a:close/>
                    </a:path>
                  </a:pathLst>
                </a:custGeom>
                <a:solidFill>
                  <a:srgbClr val="C0FFFF"/>
                </a:solidFill>
                <a:ln w="1588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d-ID"/>
                </a:p>
              </p:txBody>
            </p:sp>
            <p:sp>
              <p:nvSpPr>
                <p:cNvPr id="74" name="Freeform 1739"/>
                <p:cNvSpPr>
                  <a:spLocks/>
                </p:cNvSpPr>
                <p:nvPr/>
              </p:nvSpPr>
              <p:spPr bwMode="auto">
                <a:xfrm>
                  <a:off x="661" y="1341"/>
                  <a:ext cx="7" cy="3"/>
                </a:xfrm>
                <a:custGeom>
                  <a:avLst/>
                  <a:gdLst>
                    <a:gd name="T0" fmla="*/ 0 w 97"/>
                    <a:gd name="T1" fmla="*/ 0 h 44"/>
                    <a:gd name="T2" fmla="*/ 0 w 97"/>
                    <a:gd name="T3" fmla="*/ 0 h 44"/>
                    <a:gd name="T4" fmla="*/ 0 w 97"/>
                    <a:gd name="T5" fmla="*/ 0 h 44"/>
                    <a:gd name="T6" fmla="*/ 0 w 97"/>
                    <a:gd name="T7" fmla="*/ 0 h 44"/>
                    <a:gd name="T8" fmla="*/ 0 w 97"/>
                    <a:gd name="T9" fmla="*/ 0 h 44"/>
                    <a:gd name="T10" fmla="*/ 0 w 97"/>
                    <a:gd name="T11" fmla="*/ 0 h 44"/>
                    <a:gd name="T12" fmla="*/ 0 w 97"/>
                    <a:gd name="T13" fmla="*/ 0 h 44"/>
                    <a:gd name="T14" fmla="*/ 0 w 97"/>
                    <a:gd name="T15" fmla="*/ 0 h 44"/>
                    <a:gd name="T16" fmla="*/ 0 w 97"/>
                    <a:gd name="T17" fmla="*/ 0 h 44"/>
                    <a:gd name="T18" fmla="*/ 0 w 97"/>
                    <a:gd name="T19" fmla="*/ 0 h 44"/>
                    <a:gd name="T20" fmla="*/ 0 w 97"/>
                    <a:gd name="T21" fmla="*/ 0 h 44"/>
                    <a:gd name="T22" fmla="*/ 0 w 97"/>
                    <a:gd name="T23" fmla="*/ 0 h 44"/>
                    <a:gd name="T24" fmla="*/ 0 w 97"/>
                    <a:gd name="T25" fmla="*/ 0 h 44"/>
                    <a:gd name="T26" fmla="*/ 0 w 97"/>
                    <a:gd name="T27" fmla="*/ 0 h 44"/>
                    <a:gd name="T28" fmla="*/ 0 w 97"/>
                    <a:gd name="T29" fmla="*/ 0 h 44"/>
                    <a:gd name="T30" fmla="*/ 0 w 97"/>
                    <a:gd name="T31" fmla="*/ 0 h 44"/>
                    <a:gd name="T32" fmla="*/ 0 w 97"/>
                    <a:gd name="T33" fmla="*/ 0 h 44"/>
                    <a:gd name="T34" fmla="*/ 0 w 97"/>
                    <a:gd name="T35" fmla="*/ 0 h 44"/>
                    <a:gd name="T36" fmla="*/ 0 w 97"/>
                    <a:gd name="T37" fmla="*/ 0 h 44"/>
                    <a:gd name="T38" fmla="*/ 0 w 97"/>
                    <a:gd name="T39" fmla="*/ 0 h 44"/>
                    <a:gd name="T40" fmla="*/ 0 w 97"/>
                    <a:gd name="T41" fmla="*/ 0 h 44"/>
                    <a:gd name="T42" fmla="*/ 0 w 97"/>
                    <a:gd name="T43" fmla="*/ 0 h 44"/>
                    <a:gd name="T44" fmla="*/ 0 w 97"/>
                    <a:gd name="T45" fmla="*/ 0 h 44"/>
                    <a:gd name="T46" fmla="*/ 0 w 97"/>
                    <a:gd name="T47" fmla="*/ 0 h 44"/>
                    <a:gd name="T48" fmla="*/ 0 w 97"/>
                    <a:gd name="T49" fmla="*/ 0 h 44"/>
                    <a:gd name="T50" fmla="*/ 0 w 97"/>
                    <a:gd name="T51" fmla="*/ 0 h 44"/>
                    <a:gd name="T52" fmla="*/ 0 w 97"/>
                    <a:gd name="T53" fmla="*/ 0 h 44"/>
                    <a:gd name="T54" fmla="*/ 0 w 97"/>
                    <a:gd name="T55" fmla="*/ 0 h 44"/>
                    <a:gd name="T56" fmla="*/ 0 w 97"/>
                    <a:gd name="T57" fmla="*/ 0 h 44"/>
                    <a:gd name="T58" fmla="*/ 0 w 97"/>
                    <a:gd name="T59" fmla="*/ 0 h 44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97"/>
                    <a:gd name="T91" fmla="*/ 0 h 44"/>
                    <a:gd name="T92" fmla="*/ 97 w 97"/>
                    <a:gd name="T93" fmla="*/ 44 h 44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97" h="44">
                      <a:moveTo>
                        <a:pt x="0" y="44"/>
                      </a:moveTo>
                      <a:lnTo>
                        <a:pt x="24" y="19"/>
                      </a:lnTo>
                      <a:lnTo>
                        <a:pt x="30" y="13"/>
                      </a:lnTo>
                      <a:lnTo>
                        <a:pt x="35" y="12"/>
                      </a:lnTo>
                      <a:lnTo>
                        <a:pt x="40" y="10"/>
                      </a:lnTo>
                      <a:lnTo>
                        <a:pt x="47" y="5"/>
                      </a:lnTo>
                      <a:lnTo>
                        <a:pt x="52" y="4"/>
                      </a:lnTo>
                      <a:lnTo>
                        <a:pt x="57" y="1"/>
                      </a:lnTo>
                      <a:lnTo>
                        <a:pt x="62" y="0"/>
                      </a:lnTo>
                      <a:lnTo>
                        <a:pt x="70" y="0"/>
                      </a:lnTo>
                      <a:lnTo>
                        <a:pt x="75" y="0"/>
                      </a:lnTo>
                      <a:lnTo>
                        <a:pt x="79" y="0"/>
                      </a:lnTo>
                      <a:lnTo>
                        <a:pt x="84" y="1"/>
                      </a:lnTo>
                      <a:lnTo>
                        <a:pt x="86" y="4"/>
                      </a:lnTo>
                      <a:lnTo>
                        <a:pt x="92" y="8"/>
                      </a:lnTo>
                      <a:lnTo>
                        <a:pt x="95" y="12"/>
                      </a:lnTo>
                      <a:lnTo>
                        <a:pt x="96" y="14"/>
                      </a:lnTo>
                      <a:lnTo>
                        <a:pt x="97" y="23"/>
                      </a:lnTo>
                      <a:lnTo>
                        <a:pt x="96" y="31"/>
                      </a:lnTo>
                      <a:lnTo>
                        <a:pt x="95" y="34"/>
                      </a:lnTo>
                      <a:lnTo>
                        <a:pt x="92" y="38"/>
                      </a:lnTo>
                      <a:lnTo>
                        <a:pt x="85" y="41"/>
                      </a:lnTo>
                      <a:lnTo>
                        <a:pt x="79" y="43"/>
                      </a:lnTo>
                      <a:lnTo>
                        <a:pt x="70" y="43"/>
                      </a:lnTo>
                      <a:lnTo>
                        <a:pt x="62" y="39"/>
                      </a:lnTo>
                      <a:lnTo>
                        <a:pt x="52" y="37"/>
                      </a:lnTo>
                      <a:lnTo>
                        <a:pt x="45" y="37"/>
                      </a:lnTo>
                      <a:lnTo>
                        <a:pt x="33" y="37"/>
                      </a:lnTo>
                      <a:lnTo>
                        <a:pt x="20" y="38"/>
                      </a:lnTo>
                      <a:lnTo>
                        <a:pt x="0" y="44"/>
                      </a:lnTo>
                      <a:close/>
                    </a:path>
                  </a:pathLst>
                </a:custGeom>
                <a:solidFill>
                  <a:srgbClr val="C0FFFF"/>
                </a:solidFill>
                <a:ln w="1588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d-ID"/>
                </a:p>
              </p:txBody>
            </p:sp>
            <p:sp>
              <p:nvSpPr>
                <p:cNvPr id="75" name="Freeform 1740"/>
                <p:cNvSpPr>
                  <a:spLocks/>
                </p:cNvSpPr>
                <p:nvPr/>
              </p:nvSpPr>
              <p:spPr bwMode="auto">
                <a:xfrm>
                  <a:off x="603" y="1324"/>
                  <a:ext cx="8" cy="6"/>
                </a:xfrm>
                <a:custGeom>
                  <a:avLst/>
                  <a:gdLst>
                    <a:gd name="T0" fmla="*/ 0 w 110"/>
                    <a:gd name="T1" fmla="*/ 0 h 80"/>
                    <a:gd name="T2" fmla="*/ 0 w 110"/>
                    <a:gd name="T3" fmla="*/ 0 h 80"/>
                    <a:gd name="T4" fmla="*/ 0 w 110"/>
                    <a:gd name="T5" fmla="*/ 0 h 80"/>
                    <a:gd name="T6" fmla="*/ 0 w 110"/>
                    <a:gd name="T7" fmla="*/ 0 h 80"/>
                    <a:gd name="T8" fmla="*/ 0 w 110"/>
                    <a:gd name="T9" fmla="*/ 0 h 80"/>
                    <a:gd name="T10" fmla="*/ 0 w 110"/>
                    <a:gd name="T11" fmla="*/ 0 h 80"/>
                    <a:gd name="T12" fmla="*/ 0 w 110"/>
                    <a:gd name="T13" fmla="*/ 0 h 80"/>
                    <a:gd name="T14" fmla="*/ 0 w 110"/>
                    <a:gd name="T15" fmla="*/ 0 h 80"/>
                    <a:gd name="T16" fmla="*/ 0 w 110"/>
                    <a:gd name="T17" fmla="*/ 0 h 80"/>
                    <a:gd name="T18" fmla="*/ 0 w 110"/>
                    <a:gd name="T19" fmla="*/ 0 h 80"/>
                    <a:gd name="T20" fmla="*/ 0 w 110"/>
                    <a:gd name="T21" fmla="*/ 0 h 80"/>
                    <a:gd name="T22" fmla="*/ 0 w 110"/>
                    <a:gd name="T23" fmla="*/ 0 h 80"/>
                    <a:gd name="T24" fmla="*/ 0 w 110"/>
                    <a:gd name="T25" fmla="*/ 0 h 80"/>
                    <a:gd name="T26" fmla="*/ 0 w 110"/>
                    <a:gd name="T27" fmla="*/ 0 h 80"/>
                    <a:gd name="T28" fmla="*/ 0 w 110"/>
                    <a:gd name="T29" fmla="*/ 0 h 80"/>
                    <a:gd name="T30" fmla="*/ 0 w 110"/>
                    <a:gd name="T31" fmla="*/ 0 h 80"/>
                    <a:gd name="T32" fmla="*/ 0 w 110"/>
                    <a:gd name="T33" fmla="*/ 0 h 80"/>
                    <a:gd name="T34" fmla="*/ 0 w 110"/>
                    <a:gd name="T35" fmla="*/ 0 h 80"/>
                    <a:gd name="T36" fmla="*/ 0 w 110"/>
                    <a:gd name="T37" fmla="*/ 0 h 80"/>
                    <a:gd name="T38" fmla="*/ 0 w 110"/>
                    <a:gd name="T39" fmla="*/ 0 h 80"/>
                    <a:gd name="T40" fmla="*/ 0 w 110"/>
                    <a:gd name="T41" fmla="*/ 0 h 80"/>
                    <a:gd name="T42" fmla="*/ 0 w 110"/>
                    <a:gd name="T43" fmla="*/ 0 h 80"/>
                    <a:gd name="T44" fmla="*/ 0 w 110"/>
                    <a:gd name="T45" fmla="*/ 0 h 80"/>
                    <a:gd name="T46" fmla="*/ 0 w 110"/>
                    <a:gd name="T47" fmla="*/ 0 h 80"/>
                    <a:gd name="T48" fmla="*/ 0 w 110"/>
                    <a:gd name="T49" fmla="*/ 0 h 80"/>
                    <a:gd name="T50" fmla="*/ 0 w 110"/>
                    <a:gd name="T51" fmla="*/ 0 h 80"/>
                    <a:gd name="T52" fmla="*/ 0 w 110"/>
                    <a:gd name="T53" fmla="*/ 0 h 80"/>
                    <a:gd name="T54" fmla="*/ 0 w 110"/>
                    <a:gd name="T55" fmla="*/ 0 h 80"/>
                    <a:gd name="T56" fmla="*/ 0 w 110"/>
                    <a:gd name="T57" fmla="*/ 0 h 80"/>
                    <a:gd name="T58" fmla="*/ 0 w 110"/>
                    <a:gd name="T59" fmla="*/ 0 h 80"/>
                    <a:gd name="T60" fmla="*/ 0 w 110"/>
                    <a:gd name="T61" fmla="*/ 0 h 80"/>
                    <a:gd name="T62" fmla="*/ 0 w 110"/>
                    <a:gd name="T63" fmla="*/ 0 h 80"/>
                    <a:gd name="T64" fmla="*/ 0 w 110"/>
                    <a:gd name="T65" fmla="*/ 0 h 80"/>
                    <a:gd name="T66" fmla="*/ 0 w 110"/>
                    <a:gd name="T67" fmla="*/ 0 h 80"/>
                    <a:gd name="T68" fmla="*/ 0 w 110"/>
                    <a:gd name="T69" fmla="*/ 0 h 80"/>
                    <a:gd name="T70" fmla="*/ 0 w 110"/>
                    <a:gd name="T71" fmla="*/ 0 h 80"/>
                    <a:gd name="T72" fmla="*/ 0 w 110"/>
                    <a:gd name="T73" fmla="*/ 0 h 8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110"/>
                    <a:gd name="T112" fmla="*/ 0 h 80"/>
                    <a:gd name="T113" fmla="*/ 110 w 110"/>
                    <a:gd name="T114" fmla="*/ 80 h 8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110" h="80">
                      <a:moveTo>
                        <a:pt x="110" y="80"/>
                      </a:moveTo>
                      <a:lnTo>
                        <a:pt x="105" y="70"/>
                      </a:lnTo>
                      <a:lnTo>
                        <a:pt x="100" y="52"/>
                      </a:lnTo>
                      <a:lnTo>
                        <a:pt x="96" y="41"/>
                      </a:lnTo>
                      <a:lnTo>
                        <a:pt x="86" y="32"/>
                      </a:lnTo>
                      <a:lnTo>
                        <a:pt x="78" y="20"/>
                      </a:lnTo>
                      <a:lnTo>
                        <a:pt x="70" y="14"/>
                      </a:lnTo>
                      <a:lnTo>
                        <a:pt x="63" y="8"/>
                      </a:lnTo>
                      <a:lnTo>
                        <a:pt x="53" y="6"/>
                      </a:lnTo>
                      <a:lnTo>
                        <a:pt x="45" y="1"/>
                      </a:lnTo>
                      <a:lnTo>
                        <a:pt x="34" y="0"/>
                      </a:lnTo>
                      <a:lnTo>
                        <a:pt x="20" y="0"/>
                      </a:lnTo>
                      <a:lnTo>
                        <a:pt x="11" y="4"/>
                      </a:lnTo>
                      <a:lnTo>
                        <a:pt x="6" y="6"/>
                      </a:lnTo>
                      <a:lnTo>
                        <a:pt x="2" y="8"/>
                      </a:lnTo>
                      <a:lnTo>
                        <a:pt x="1" y="12"/>
                      </a:lnTo>
                      <a:lnTo>
                        <a:pt x="0" y="15"/>
                      </a:lnTo>
                      <a:lnTo>
                        <a:pt x="0" y="20"/>
                      </a:lnTo>
                      <a:lnTo>
                        <a:pt x="0" y="26"/>
                      </a:lnTo>
                      <a:lnTo>
                        <a:pt x="2" y="33"/>
                      </a:lnTo>
                      <a:lnTo>
                        <a:pt x="4" y="35"/>
                      </a:lnTo>
                      <a:lnTo>
                        <a:pt x="6" y="39"/>
                      </a:lnTo>
                      <a:lnTo>
                        <a:pt x="11" y="40"/>
                      </a:lnTo>
                      <a:lnTo>
                        <a:pt x="17" y="43"/>
                      </a:lnTo>
                      <a:lnTo>
                        <a:pt x="22" y="43"/>
                      </a:lnTo>
                      <a:lnTo>
                        <a:pt x="29" y="45"/>
                      </a:lnTo>
                      <a:lnTo>
                        <a:pt x="35" y="45"/>
                      </a:lnTo>
                      <a:lnTo>
                        <a:pt x="41" y="45"/>
                      </a:lnTo>
                      <a:lnTo>
                        <a:pt x="49" y="43"/>
                      </a:lnTo>
                      <a:lnTo>
                        <a:pt x="59" y="45"/>
                      </a:lnTo>
                      <a:lnTo>
                        <a:pt x="66" y="46"/>
                      </a:lnTo>
                      <a:lnTo>
                        <a:pt x="73" y="49"/>
                      </a:lnTo>
                      <a:lnTo>
                        <a:pt x="81" y="53"/>
                      </a:lnTo>
                      <a:lnTo>
                        <a:pt x="90" y="60"/>
                      </a:lnTo>
                      <a:lnTo>
                        <a:pt x="97" y="66"/>
                      </a:lnTo>
                      <a:lnTo>
                        <a:pt x="101" y="72"/>
                      </a:lnTo>
                      <a:lnTo>
                        <a:pt x="110" y="80"/>
                      </a:lnTo>
                      <a:close/>
                    </a:path>
                  </a:pathLst>
                </a:custGeom>
                <a:solidFill>
                  <a:srgbClr val="C0FFFF"/>
                </a:solidFill>
                <a:ln w="1588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d-ID"/>
                </a:p>
              </p:txBody>
            </p:sp>
          </p:grpSp>
        </p:grpSp>
      </p:grpSp>
      <p:sp>
        <p:nvSpPr>
          <p:cNvPr id="227" name="Line 11"/>
          <p:cNvSpPr>
            <a:spLocks noChangeShapeType="1"/>
          </p:cNvSpPr>
          <p:nvPr/>
        </p:nvSpPr>
        <p:spPr bwMode="auto">
          <a:xfrm flipV="1">
            <a:off x="6358531" y="1626791"/>
            <a:ext cx="786128" cy="30241"/>
          </a:xfrm>
          <a:prstGeom prst="line">
            <a:avLst/>
          </a:prstGeom>
          <a:noFill/>
          <a:ln w="19050">
            <a:solidFill>
              <a:srgbClr val="8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id-ID"/>
          </a:p>
        </p:txBody>
      </p:sp>
      <p:grpSp>
        <p:nvGrpSpPr>
          <p:cNvPr id="228" name="Group 9"/>
          <p:cNvGrpSpPr>
            <a:grpSpLocks/>
          </p:cNvGrpSpPr>
          <p:nvPr/>
        </p:nvGrpSpPr>
        <p:grpSpPr bwMode="auto">
          <a:xfrm>
            <a:off x="7187339" y="1352515"/>
            <a:ext cx="712158" cy="393875"/>
            <a:chOff x="714" y="1341"/>
            <a:chExt cx="1224" cy="492"/>
          </a:xfrm>
        </p:grpSpPr>
        <p:sp>
          <p:nvSpPr>
            <p:cNvPr id="229" name="Cloud"/>
            <p:cNvSpPr>
              <a:spLocks noChangeAspect="1" noEditPoints="1" noChangeArrowheads="1"/>
            </p:cNvSpPr>
            <p:nvPr/>
          </p:nvSpPr>
          <p:spPr bwMode="auto">
            <a:xfrm>
              <a:off x="714" y="1341"/>
              <a:ext cx="1224" cy="49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82 w 21600"/>
                <a:gd name="T13" fmla="*/ 3249 h 21600"/>
                <a:gd name="T14" fmla="*/ 17082 w 21600"/>
                <a:gd name="T15" fmla="*/ 1734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 extrusionOk="0">
                  <a:moveTo>
                    <a:pt x="1949" y="7180"/>
                  </a:moveTo>
                  <a:cubicBezTo>
                    <a:pt x="841" y="7336"/>
                    <a:pt x="0" y="8613"/>
                    <a:pt x="0" y="10137"/>
                  </a:cubicBezTo>
                  <a:cubicBezTo>
                    <a:pt x="-1" y="11192"/>
                    <a:pt x="409" y="12169"/>
                    <a:pt x="1074" y="12702"/>
                  </a:cubicBezTo>
                  <a:lnTo>
                    <a:pt x="1063" y="12668"/>
                  </a:lnTo>
                  <a:cubicBezTo>
                    <a:pt x="685" y="13217"/>
                    <a:pt x="475" y="13940"/>
                    <a:pt x="475" y="14690"/>
                  </a:cubicBezTo>
                  <a:cubicBezTo>
                    <a:pt x="475" y="16325"/>
                    <a:pt x="1451" y="17650"/>
                    <a:pt x="2655" y="17650"/>
                  </a:cubicBezTo>
                  <a:cubicBezTo>
                    <a:pt x="2739" y="17650"/>
                    <a:pt x="2824" y="17643"/>
                    <a:pt x="2909" y="17629"/>
                  </a:cubicBezTo>
                  <a:lnTo>
                    <a:pt x="2897" y="17649"/>
                  </a:lnTo>
                  <a:cubicBezTo>
                    <a:pt x="3585" y="19288"/>
                    <a:pt x="4863" y="20300"/>
                    <a:pt x="6247" y="20300"/>
                  </a:cubicBezTo>
                  <a:cubicBezTo>
                    <a:pt x="6947" y="20299"/>
                    <a:pt x="7635" y="20039"/>
                    <a:pt x="8235" y="19546"/>
                  </a:cubicBezTo>
                  <a:lnTo>
                    <a:pt x="8229" y="19550"/>
                  </a:lnTo>
                  <a:cubicBezTo>
                    <a:pt x="8855" y="20829"/>
                    <a:pt x="9908" y="21597"/>
                    <a:pt x="11036" y="21597"/>
                  </a:cubicBezTo>
                  <a:cubicBezTo>
                    <a:pt x="12523" y="21596"/>
                    <a:pt x="13836" y="20267"/>
                    <a:pt x="14267" y="18324"/>
                  </a:cubicBezTo>
                  <a:lnTo>
                    <a:pt x="14270" y="18350"/>
                  </a:lnTo>
                  <a:cubicBezTo>
                    <a:pt x="14730" y="18740"/>
                    <a:pt x="15260" y="18947"/>
                    <a:pt x="15802" y="18947"/>
                  </a:cubicBezTo>
                  <a:cubicBezTo>
                    <a:pt x="17390" y="18946"/>
                    <a:pt x="18682" y="17205"/>
                    <a:pt x="18694" y="15045"/>
                  </a:cubicBezTo>
                  <a:lnTo>
                    <a:pt x="18689" y="15035"/>
                  </a:lnTo>
                  <a:cubicBezTo>
                    <a:pt x="20357" y="14710"/>
                    <a:pt x="21597" y="12765"/>
                    <a:pt x="21597" y="10472"/>
                  </a:cubicBezTo>
                  <a:cubicBezTo>
                    <a:pt x="21597" y="9456"/>
                    <a:pt x="21350" y="8469"/>
                    <a:pt x="20896" y="7663"/>
                  </a:cubicBezTo>
                  <a:lnTo>
                    <a:pt x="20889" y="7661"/>
                  </a:lnTo>
                  <a:cubicBezTo>
                    <a:pt x="21031" y="7208"/>
                    <a:pt x="21105" y="6721"/>
                    <a:pt x="21105" y="6228"/>
                  </a:cubicBezTo>
                  <a:cubicBezTo>
                    <a:pt x="21105" y="4588"/>
                    <a:pt x="20299" y="3150"/>
                    <a:pt x="19139" y="2719"/>
                  </a:cubicBezTo>
                  <a:lnTo>
                    <a:pt x="19148" y="2712"/>
                  </a:lnTo>
                  <a:cubicBezTo>
                    <a:pt x="18940" y="1142"/>
                    <a:pt x="17933" y="0"/>
                    <a:pt x="16758" y="0"/>
                  </a:cubicBezTo>
                  <a:cubicBezTo>
                    <a:pt x="16044" y="-1"/>
                    <a:pt x="15367" y="426"/>
                    <a:pt x="14905" y="1165"/>
                  </a:cubicBezTo>
                  <a:lnTo>
                    <a:pt x="14909" y="1170"/>
                  </a:lnTo>
                  <a:cubicBezTo>
                    <a:pt x="14497" y="432"/>
                    <a:pt x="13855" y="0"/>
                    <a:pt x="13174" y="0"/>
                  </a:cubicBezTo>
                  <a:cubicBezTo>
                    <a:pt x="12347" y="-1"/>
                    <a:pt x="11590" y="637"/>
                    <a:pt x="11221" y="1645"/>
                  </a:cubicBezTo>
                  <a:lnTo>
                    <a:pt x="11229" y="1694"/>
                  </a:lnTo>
                  <a:cubicBezTo>
                    <a:pt x="10730" y="1024"/>
                    <a:pt x="10058" y="650"/>
                    <a:pt x="9358" y="650"/>
                  </a:cubicBezTo>
                  <a:cubicBezTo>
                    <a:pt x="8372" y="649"/>
                    <a:pt x="7466" y="1391"/>
                    <a:pt x="7003" y="2578"/>
                  </a:cubicBezTo>
                  <a:lnTo>
                    <a:pt x="6995" y="2602"/>
                  </a:lnTo>
                  <a:cubicBezTo>
                    <a:pt x="6477" y="2189"/>
                    <a:pt x="5888" y="1972"/>
                    <a:pt x="5288" y="1972"/>
                  </a:cubicBezTo>
                  <a:cubicBezTo>
                    <a:pt x="3423" y="1972"/>
                    <a:pt x="1912" y="4029"/>
                    <a:pt x="1912" y="6567"/>
                  </a:cubicBezTo>
                  <a:cubicBezTo>
                    <a:pt x="1911" y="6774"/>
                    <a:pt x="1922" y="6981"/>
                    <a:pt x="1942" y="7186"/>
                  </a:cubicBezTo>
                  <a:lnTo>
                    <a:pt x="1949" y="7180"/>
                  </a:lnTo>
                  <a:close/>
                </a:path>
                <a:path w="21600" h="21600" fill="none" extrusionOk="0">
                  <a:moveTo>
                    <a:pt x="1074" y="12702"/>
                  </a:moveTo>
                  <a:cubicBezTo>
                    <a:pt x="1407" y="12969"/>
                    <a:pt x="1786" y="13110"/>
                    <a:pt x="2172" y="13110"/>
                  </a:cubicBezTo>
                  <a:cubicBezTo>
                    <a:pt x="2228" y="13109"/>
                    <a:pt x="2285" y="13107"/>
                    <a:pt x="2341" y="13101"/>
                  </a:cubicBezTo>
                </a:path>
                <a:path w="21600" h="21600" fill="none" extrusionOk="0">
                  <a:moveTo>
                    <a:pt x="2909" y="17629"/>
                  </a:moveTo>
                  <a:cubicBezTo>
                    <a:pt x="3099" y="17599"/>
                    <a:pt x="3285" y="17535"/>
                    <a:pt x="3463" y="17439"/>
                  </a:cubicBezTo>
                </a:path>
                <a:path w="21600" h="21600" fill="none" extrusionOk="0">
                  <a:moveTo>
                    <a:pt x="7895" y="18680"/>
                  </a:moveTo>
                  <a:cubicBezTo>
                    <a:pt x="7983" y="18985"/>
                    <a:pt x="8095" y="19277"/>
                    <a:pt x="8229" y="19550"/>
                  </a:cubicBezTo>
                </a:path>
                <a:path w="21600" h="21600" fill="none" extrusionOk="0">
                  <a:moveTo>
                    <a:pt x="14267" y="18324"/>
                  </a:moveTo>
                  <a:cubicBezTo>
                    <a:pt x="14336" y="18013"/>
                    <a:pt x="14380" y="17693"/>
                    <a:pt x="14400" y="17370"/>
                  </a:cubicBezTo>
                </a:path>
                <a:path w="21600" h="21600" fill="none" extrusionOk="0">
                  <a:moveTo>
                    <a:pt x="18694" y="15045"/>
                  </a:moveTo>
                  <a:cubicBezTo>
                    <a:pt x="18694" y="15034"/>
                    <a:pt x="18695" y="15024"/>
                    <a:pt x="18695" y="15013"/>
                  </a:cubicBezTo>
                  <a:cubicBezTo>
                    <a:pt x="18695" y="13508"/>
                    <a:pt x="18063" y="12136"/>
                    <a:pt x="17069" y="11477"/>
                  </a:cubicBezTo>
                </a:path>
                <a:path w="21600" h="21600" fill="none" extrusionOk="0">
                  <a:moveTo>
                    <a:pt x="20165" y="8999"/>
                  </a:moveTo>
                  <a:cubicBezTo>
                    <a:pt x="20479" y="8635"/>
                    <a:pt x="20726" y="8177"/>
                    <a:pt x="20889" y="7661"/>
                  </a:cubicBezTo>
                </a:path>
                <a:path w="21600" h="21600" fill="none" extrusionOk="0">
                  <a:moveTo>
                    <a:pt x="19186" y="3344"/>
                  </a:moveTo>
                  <a:cubicBezTo>
                    <a:pt x="19186" y="3328"/>
                    <a:pt x="19187" y="3313"/>
                    <a:pt x="19187" y="3297"/>
                  </a:cubicBezTo>
                  <a:cubicBezTo>
                    <a:pt x="19187" y="3101"/>
                    <a:pt x="19174" y="2905"/>
                    <a:pt x="19148" y="2712"/>
                  </a:cubicBezTo>
                </a:path>
                <a:path w="21600" h="21600" fill="none" extrusionOk="0">
                  <a:moveTo>
                    <a:pt x="14905" y="1165"/>
                  </a:moveTo>
                  <a:cubicBezTo>
                    <a:pt x="14754" y="1408"/>
                    <a:pt x="14629" y="1679"/>
                    <a:pt x="14535" y="1971"/>
                  </a:cubicBezTo>
                </a:path>
                <a:path w="21600" h="21600" fill="none" extrusionOk="0">
                  <a:moveTo>
                    <a:pt x="11221" y="1645"/>
                  </a:moveTo>
                  <a:cubicBezTo>
                    <a:pt x="11140" y="1866"/>
                    <a:pt x="11080" y="2099"/>
                    <a:pt x="11041" y="2340"/>
                  </a:cubicBezTo>
                </a:path>
                <a:path w="21600" h="21600" fill="none" extrusionOk="0">
                  <a:moveTo>
                    <a:pt x="7645" y="3276"/>
                  </a:moveTo>
                  <a:cubicBezTo>
                    <a:pt x="7449" y="3016"/>
                    <a:pt x="7231" y="2790"/>
                    <a:pt x="6995" y="2602"/>
                  </a:cubicBezTo>
                </a:path>
                <a:path w="21600" h="21600" fill="none" extrusionOk="0">
                  <a:moveTo>
                    <a:pt x="1942" y="7186"/>
                  </a:moveTo>
                  <a:cubicBezTo>
                    <a:pt x="1966" y="7426"/>
                    <a:pt x="2004" y="7663"/>
                    <a:pt x="2056" y="7895"/>
                  </a:cubicBezTo>
                </a:path>
              </a:pathLst>
            </a:custGeom>
            <a:solidFill>
              <a:srgbClr val="C0C0C0"/>
            </a:solidFill>
            <a:ln w="3175">
              <a:solidFill>
                <a:srgbClr val="333333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 lIns="0" rIns="0"/>
            <a:lstStyle/>
            <a:p>
              <a:pPr>
                <a:defRPr/>
              </a:pPr>
              <a:endParaRPr lang="id-ID" sz="1671"/>
            </a:p>
          </p:txBody>
        </p:sp>
        <p:sp>
          <p:nvSpPr>
            <p:cNvPr id="230" name="Text Box 11"/>
            <p:cNvSpPr txBox="1">
              <a:spLocks noChangeArrowheads="1"/>
            </p:cNvSpPr>
            <p:nvPr/>
          </p:nvSpPr>
          <p:spPr bwMode="auto">
            <a:xfrm>
              <a:off x="801" y="1440"/>
              <a:ext cx="1050" cy="3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hangingPunct="0">
                <a:lnSpc>
                  <a:spcPct val="80000"/>
                </a:lnSpc>
                <a:buClr>
                  <a:srgbClr val="000000"/>
                </a:buClr>
                <a:buSzPct val="45000"/>
                <a:buFont typeface="StarSymbol" charset="0"/>
                <a:buNone/>
              </a:pPr>
              <a:r>
                <a:rPr lang="id-ID" sz="752" b="1" dirty="0">
                  <a:solidFill>
                    <a:srgbClr val="0000FF"/>
                  </a:solidFill>
                </a:rPr>
                <a:t>Jaminan </a:t>
              </a:r>
            </a:p>
            <a:p>
              <a:pPr algn="ctr" hangingPunct="0">
                <a:lnSpc>
                  <a:spcPct val="80000"/>
                </a:lnSpc>
                <a:buClr>
                  <a:srgbClr val="000000"/>
                </a:buClr>
                <a:buSzPct val="45000"/>
                <a:buFont typeface="StarSymbol" charset="0"/>
                <a:buNone/>
              </a:pPr>
              <a:r>
                <a:rPr lang="id-ID" sz="752" b="1" dirty="0">
                  <a:solidFill>
                    <a:srgbClr val="0000FF"/>
                  </a:solidFill>
                </a:rPr>
                <a:t>Keamanan</a:t>
              </a:r>
              <a:endParaRPr lang="id-ID" sz="752" b="1" dirty="0">
                <a:solidFill>
                  <a:srgbClr val="0000FF"/>
                </a:solidFill>
                <a:latin typeface="Arial Narrow" pitchFamily="34" charset="0"/>
              </a:endParaRPr>
            </a:p>
          </p:txBody>
        </p:sp>
      </p:grpSp>
      <p:pic>
        <p:nvPicPr>
          <p:cNvPr id="231" name="Picture 27" descr="greenorb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054418" y="1503139"/>
            <a:ext cx="279824" cy="245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dist="17961" dir="2700000" algn="ctr" rotWithShape="0">
              <a:schemeClr val="tx1">
                <a:alpha val="74998"/>
              </a:schemeClr>
            </a:outerShdw>
          </a:effectLst>
        </p:spPr>
      </p:pic>
      <p:sp>
        <p:nvSpPr>
          <p:cNvPr id="232" name="TextBox 231"/>
          <p:cNvSpPr txBox="1"/>
          <p:nvPr/>
        </p:nvSpPr>
        <p:spPr>
          <a:xfrm>
            <a:off x="6503609" y="1698938"/>
            <a:ext cx="615874" cy="24654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id-ID" sz="1002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ortir</a:t>
            </a:r>
          </a:p>
        </p:txBody>
      </p:sp>
      <p:sp>
        <p:nvSpPr>
          <p:cNvPr id="233" name="Up-Down Arrow 232"/>
          <p:cNvSpPr/>
          <p:nvPr/>
        </p:nvSpPr>
        <p:spPr>
          <a:xfrm rot="10800000">
            <a:off x="2677217" y="1861767"/>
            <a:ext cx="273784" cy="438986"/>
          </a:xfrm>
          <a:prstGeom prst="upDownArrow">
            <a:avLst>
              <a:gd name="adj1" fmla="val 62782"/>
              <a:gd name="adj2" fmla="val 57363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pic>
        <p:nvPicPr>
          <p:cNvPr id="234" name="Picture 106" descr="supplier3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6000"/>
          </a:blip>
          <a:srcRect/>
          <a:stretch>
            <a:fillRect/>
          </a:stretch>
        </p:blipFill>
        <p:spPr bwMode="auto">
          <a:xfrm>
            <a:off x="5857808" y="2299586"/>
            <a:ext cx="1035745" cy="661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" name="Up-Down Arrow 234"/>
          <p:cNvSpPr/>
          <p:nvPr/>
        </p:nvSpPr>
        <p:spPr>
          <a:xfrm rot="10800000">
            <a:off x="2515792" y="2943929"/>
            <a:ext cx="273784" cy="438986"/>
          </a:xfrm>
          <a:prstGeom prst="upDownArrow">
            <a:avLst>
              <a:gd name="adj1" fmla="val 62782"/>
              <a:gd name="adj2" fmla="val 57363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pic>
        <p:nvPicPr>
          <p:cNvPr id="236" name="Picture 2" descr="https://t1.ftcdn.net/jpg/00/74/91/02/240_F_74910244_Ap3BzlLqCW2ddkfmfQX5AEiBdFI7IJpI.jpg"/>
          <p:cNvPicPr>
            <a:picLocks noChangeAspect="1" noChangeArrowheads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2" t="9488" r="52181" b="53429"/>
          <a:stretch/>
        </p:blipFill>
        <p:spPr bwMode="auto">
          <a:xfrm>
            <a:off x="2114289" y="3465465"/>
            <a:ext cx="1225389" cy="708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7" name="TextBox 236"/>
          <p:cNvSpPr txBox="1"/>
          <p:nvPr/>
        </p:nvSpPr>
        <p:spPr>
          <a:xfrm>
            <a:off x="1022878" y="3900920"/>
            <a:ext cx="1151277" cy="24654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id-ID" sz="1002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erator Terminal</a:t>
            </a:r>
          </a:p>
        </p:txBody>
      </p:sp>
      <p:sp>
        <p:nvSpPr>
          <p:cNvPr id="238" name="Line 11"/>
          <p:cNvSpPr>
            <a:spLocks noChangeShapeType="1"/>
          </p:cNvSpPr>
          <p:nvPr/>
        </p:nvSpPr>
        <p:spPr bwMode="auto">
          <a:xfrm>
            <a:off x="1649796" y="3567229"/>
            <a:ext cx="671235" cy="142642"/>
          </a:xfrm>
          <a:prstGeom prst="line">
            <a:avLst/>
          </a:prstGeom>
          <a:noFill/>
          <a:ln w="19050">
            <a:solidFill>
              <a:srgbClr val="80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id-ID"/>
          </a:p>
        </p:txBody>
      </p:sp>
      <p:pic>
        <p:nvPicPr>
          <p:cNvPr id="239" name="Picture 26" descr="goldorb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584814" y="3456845"/>
            <a:ext cx="279823" cy="245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dist="17961" dir="2700000" algn="ctr" rotWithShape="0">
              <a:schemeClr val="tx1">
                <a:alpha val="74998"/>
              </a:schemeClr>
            </a:outerShdw>
          </a:effectLst>
        </p:spPr>
      </p:pic>
      <p:sp>
        <p:nvSpPr>
          <p:cNvPr id="240" name="Up-Down Arrow 239"/>
          <p:cNvSpPr/>
          <p:nvPr/>
        </p:nvSpPr>
        <p:spPr>
          <a:xfrm rot="10800000">
            <a:off x="6130981" y="3002607"/>
            <a:ext cx="273784" cy="438986"/>
          </a:xfrm>
          <a:prstGeom prst="upDownArrow">
            <a:avLst>
              <a:gd name="adj1" fmla="val 62782"/>
              <a:gd name="adj2" fmla="val 57363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sp>
        <p:nvSpPr>
          <p:cNvPr id="241" name="Up-Down Arrow 240"/>
          <p:cNvSpPr/>
          <p:nvPr/>
        </p:nvSpPr>
        <p:spPr>
          <a:xfrm rot="10800000">
            <a:off x="5945087" y="1925424"/>
            <a:ext cx="273784" cy="438986"/>
          </a:xfrm>
          <a:prstGeom prst="upDownArrow">
            <a:avLst>
              <a:gd name="adj1" fmla="val 62782"/>
              <a:gd name="adj2" fmla="val 57363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sp>
        <p:nvSpPr>
          <p:cNvPr id="242" name="Up-Down Arrow 241"/>
          <p:cNvSpPr/>
          <p:nvPr/>
        </p:nvSpPr>
        <p:spPr>
          <a:xfrm rot="10800000">
            <a:off x="2590092" y="4129620"/>
            <a:ext cx="273784" cy="438986"/>
          </a:xfrm>
          <a:prstGeom prst="upDownArrow">
            <a:avLst>
              <a:gd name="adj1" fmla="val 62782"/>
              <a:gd name="adj2" fmla="val 57363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pic>
        <p:nvPicPr>
          <p:cNvPr id="243" name="Picture 242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819" y="339980"/>
            <a:ext cx="977234" cy="800169"/>
          </a:xfrm>
          <a:prstGeom prst="rect">
            <a:avLst/>
          </a:prstGeom>
          <a:effectLst>
            <a:softEdge rad="12700"/>
          </a:effectLst>
        </p:spPr>
      </p:pic>
    </p:spTree>
    <p:extLst>
      <p:ext uri="{BB962C8B-B14F-4D97-AF65-F5344CB8AC3E}">
        <p14:creationId xmlns:p14="http://schemas.microsoft.com/office/powerpoint/2010/main" val="1205682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75152" y="394186"/>
            <a:ext cx="8872022" cy="6223009"/>
            <a:chOff x="-3175" y="115888"/>
            <a:chExt cx="9150350" cy="6756400"/>
          </a:xfrm>
        </p:grpSpPr>
        <p:pic>
          <p:nvPicPr>
            <p:cNvPr id="9" name="Picture 6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-3175" y="6376988"/>
              <a:ext cx="9144000" cy="495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Slide Number Placeholder 5"/>
            <p:cNvSpPr txBox="1">
              <a:spLocks/>
            </p:cNvSpPr>
            <p:nvPr/>
          </p:nvSpPr>
          <p:spPr>
            <a:xfrm>
              <a:off x="214313" y="6381750"/>
              <a:ext cx="2133600" cy="365125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EB3DBFA5-2FB4-48DD-BE63-D917D46CC28C}" type="slidenum">
                <a:rPr lang="en-US" sz="1002"/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7</a:t>
              </a:fld>
              <a:endParaRPr lang="en-US" sz="1002" dirty="0"/>
            </a:p>
          </p:txBody>
        </p:sp>
        <p:pic>
          <p:nvPicPr>
            <p:cNvPr id="14" name="Picture 11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175" y="6300788"/>
              <a:ext cx="9144000" cy="76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19063" y="115888"/>
              <a:ext cx="871537" cy="798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12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223963" y="838200"/>
              <a:ext cx="7920037" cy="36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8" name="Straight Connector 17"/>
            <p:cNvCxnSpPr/>
            <p:nvPr/>
          </p:nvCxnSpPr>
          <p:spPr>
            <a:xfrm rot="5400000">
              <a:off x="709612" y="509588"/>
              <a:ext cx="714375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/>
          <p:cNvGrpSpPr/>
          <p:nvPr/>
        </p:nvGrpSpPr>
        <p:grpSpPr>
          <a:xfrm>
            <a:off x="5223107" y="1376491"/>
            <a:ext cx="2751730" cy="1870287"/>
            <a:chOff x="4271324" y="136326"/>
            <a:chExt cx="3558258" cy="2238825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53032" y="784476"/>
              <a:ext cx="2876550" cy="1590675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effectLst>
              <a:softEdge rad="317500"/>
            </a:effectLst>
          </p:spPr>
        </p:pic>
        <p:sp>
          <p:nvSpPr>
            <p:cNvPr id="23" name="TextBox 22"/>
            <p:cNvSpPr txBox="1"/>
            <p:nvPr/>
          </p:nvSpPr>
          <p:spPr>
            <a:xfrm>
              <a:off x="4271324" y="136326"/>
              <a:ext cx="3200399" cy="5414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81945" indent="-381945" algn="ctr">
                <a:buFont typeface="+mj-lt"/>
                <a:buAutoNum type="arabicPeriod" startAt="2"/>
              </a:pPr>
              <a:r>
                <a:rPr lang="id-ID" sz="2339" b="1" i="1" dirty="0">
                  <a:solidFill>
                    <a:srgbClr val="DEAE00">
                      <a:lumMod val="75000"/>
                    </a:srgb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REPUTATION</a:t>
              </a: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1578010" y="1370580"/>
            <a:ext cx="2546375" cy="1862225"/>
            <a:chOff x="1385881" y="376649"/>
            <a:chExt cx="2343725" cy="1646071"/>
          </a:xfrm>
        </p:grpSpPr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11348" y="657638"/>
              <a:ext cx="2218258" cy="1365082"/>
            </a:xfrm>
            <a:prstGeom prst="rect">
              <a:avLst/>
            </a:prstGeom>
            <a:effectLst>
              <a:softEdge rad="317500"/>
            </a:effectLst>
          </p:spPr>
        </p:pic>
        <p:sp>
          <p:nvSpPr>
            <p:cNvPr id="26" name="TextBox 25"/>
            <p:cNvSpPr txBox="1"/>
            <p:nvPr/>
          </p:nvSpPr>
          <p:spPr>
            <a:xfrm>
              <a:off x="1385881" y="376649"/>
              <a:ext cx="2175392" cy="3543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81945" indent="-381945" algn="ctr">
                <a:buFont typeface="+mj-lt"/>
                <a:buAutoNum type="arabicPeriod"/>
              </a:pPr>
              <a:r>
                <a:rPr lang="id-ID" sz="2005" b="1" i="1" dirty="0">
                  <a:solidFill>
                    <a:srgbClr val="00B05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CERTIFICATION</a:t>
              </a: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1487790" y="473640"/>
            <a:ext cx="6608144" cy="503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267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</a:rPr>
              <a:t>TUJUAN DAN PRINSIP DASAR 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9332" y="318082"/>
            <a:ext cx="1097868" cy="818730"/>
          </a:xfrm>
          <a:prstGeom prst="rect">
            <a:avLst/>
          </a:prstGeom>
          <a:effectLst>
            <a:softEdge rad="12700"/>
          </a:effectLst>
        </p:spPr>
      </p:pic>
      <p:grpSp>
        <p:nvGrpSpPr>
          <p:cNvPr id="5" name="Group 4"/>
          <p:cNvGrpSpPr/>
          <p:nvPr/>
        </p:nvGrpSpPr>
        <p:grpSpPr>
          <a:xfrm>
            <a:off x="3249183" y="3573644"/>
            <a:ext cx="2930118" cy="2422003"/>
            <a:chOff x="4125652" y="3937617"/>
            <a:chExt cx="3507494" cy="2899255"/>
          </a:xfrm>
        </p:grpSpPr>
        <p:grpSp>
          <p:nvGrpSpPr>
            <p:cNvPr id="3" name="Group 2"/>
            <p:cNvGrpSpPr/>
            <p:nvPr/>
          </p:nvGrpSpPr>
          <p:grpSpPr>
            <a:xfrm>
              <a:off x="5040858" y="4570876"/>
              <a:ext cx="2066279" cy="2265996"/>
              <a:chOff x="3838575" y="1493838"/>
              <a:chExt cx="3267075" cy="4572000"/>
            </a:xfrm>
          </p:grpSpPr>
          <p:pic>
            <p:nvPicPr>
              <p:cNvPr id="6146" name="Picture 2" descr="Image result for CERTIFICATION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38575" y="1493838"/>
                <a:ext cx="3267075" cy="4572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276441" y="2052439"/>
                <a:ext cx="2419768" cy="1944216"/>
              </a:xfrm>
              <a:prstGeom prst="rect">
                <a:avLst/>
              </a:prstGeom>
              <a:effectLst>
                <a:softEdge rad="12700"/>
              </a:effectLst>
            </p:spPr>
          </p:pic>
        </p:grpSp>
        <p:sp>
          <p:nvSpPr>
            <p:cNvPr id="31" name="TextBox 30"/>
            <p:cNvSpPr txBox="1"/>
            <p:nvPr/>
          </p:nvSpPr>
          <p:spPr>
            <a:xfrm>
              <a:off x="4125652" y="3937617"/>
              <a:ext cx="3507494" cy="972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29688" indent="-429688" algn="ctr">
                <a:buFont typeface="+mj-lt"/>
                <a:buAutoNum type="arabicPeriod" startAt="3"/>
              </a:pPr>
              <a:r>
                <a:rPr lang="en-AU" sz="2339" b="1" i="1" dirty="0">
                  <a:solidFill>
                    <a:srgbClr val="00B0F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TRUSTED PARTNER</a:t>
              </a:r>
              <a:endParaRPr lang="id-ID" sz="2339" b="1" i="1" dirty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0896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75152" y="394186"/>
            <a:ext cx="8872022" cy="6223009"/>
            <a:chOff x="-3175" y="115888"/>
            <a:chExt cx="9150350" cy="6756400"/>
          </a:xfrm>
        </p:grpSpPr>
        <p:pic>
          <p:nvPicPr>
            <p:cNvPr id="9" name="Picture 6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-3175" y="6376988"/>
              <a:ext cx="9144000" cy="495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Slide Number Placeholder 5"/>
            <p:cNvSpPr txBox="1">
              <a:spLocks/>
            </p:cNvSpPr>
            <p:nvPr/>
          </p:nvSpPr>
          <p:spPr>
            <a:xfrm>
              <a:off x="214313" y="6381750"/>
              <a:ext cx="2133600" cy="365125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EB3DBFA5-2FB4-48DD-BE63-D917D46CC28C}" type="slidenum">
                <a:rPr lang="en-US" sz="1002"/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8</a:t>
              </a:fld>
              <a:endParaRPr lang="en-US" sz="1002" dirty="0"/>
            </a:p>
          </p:txBody>
        </p:sp>
        <p:pic>
          <p:nvPicPr>
            <p:cNvPr id="14" name="Picture 11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175" y="6300788"/>
              <a:ext cx="9144000" cy="76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19063" y="115888"/>
              <a:ext cx="871537" cy="798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12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223963" y="838200"/>
              <a:ext cx="7920037" cy="36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8" name="Straight Connector 17"/>
            <p:cNvCxnSpPr/>
            <p:nvPr/>
          </p:nvCxnSpPr>
          <p:spPr>
            <a:xfrm rot="5400000">
              <a:off x="709612" y="509588"/>
              <a:ext cx="714375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0" name="Diagram 9"/>
          <p:cNvGraphicFramePr/>
          <p:nvPr>
            <p:extLst/>
          </p:nvPr>
        </p:nvGraphicFramePr>
        <p:xfrm>
          <a:off x="902796" y="1178144"/>
          <a:ext cx="6556626" cy="40798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1" name="Rectangle 3"/>
          <p:cNvSpPr>
            <a:spLocks noChangeArrowheads="1"/>
          </p:cNvSpPr>
          <p:nvPr/>
        </p:nvSpPr>
        <p:spPr bwMode="auto">
          <a:xfrm>
            <a:off x="1744733" y="389390"/>
            <a:ext cx="3812211" cy="55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id-ID" altLang="en-US" sz="3007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Batang" pitchFamily="18" charset="-127"/>
              </a:rPr>
              <a:t>SASARAN AEO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8672" y="3788064"/>
            <a:ext cx="1424874" cy="1062594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659" y="325296"/>
            <a:ext cx="1097868" cy="818730"/>
          </a:xfrm>
          <a:prstGeom prst="rect">
            <a:avLst/>
          </a:prstGeom>
          <a:effectLst>
            <a:softEdge rad="12700"/>
          </a:effectLst>
        </p:spPr>
      </p:pic>
    </p:spTree>
    <p:extLst>
      <p:ext uri="{BB962C8B-B14F-4D97-AF65-F5344CB8AC3E}">
        <p14:creationId xmlns:p14="http://schemas.microsoft.com/office/powerpoint/2010/main" val="7752437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75152" y="377445"/>
            <a:ext cx="8872022" cy="6223009"/>
            <a:chOff x="-3175" y="115888"/>
            <a:chExt cx="9150350" cy="6756400"/>
          </a:xfrm>
        </p:grpSpPr>
        <p:pic>
          <p:nvPicPr>
            <p:cNvPr id="9" name="Picture 6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-3175" y="6376988"/>
              <a:ext cx="9144000" cy="495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Slide Number Placeholder 5"/>
            <p:cNvSpPr txBox="1">
              <a:spLocks/>
            </p:cNvSpPr>
            <p:nvPr/>
          </p:nvSpPr>
          <p:spPr>
            <a:xfrm>
              <a:off x="214313" y="6381750"/>
              <a:ext cx="2133600" cy="365125"/>
            </a:xfrm>
            <a:prstGeom prst="rect">
              <a:avLst/>
            </a:prstGeom>
          </p:spPr>
          <p:txBody>
            <a:bodyPr anchor="ctr"/>
            <a:lstStyle>
              <a:defPPr>
                <a:defRPr lang="en-US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EB3DBFA5-2FB4-48DD-BE63-D917D46CC28C}" type="slidenum">
                <a:rPr lang="en-US" sz="1002"/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9</a:t>
              </a:fld>
              <a:endParaRPr lang="en-US" sz="1002" dirty="0"/>
            </a:p>
          </p:txBody>
        </p:sp>
        <p:pic>
          <p:nvPicPr>
            <p:cNvPr id="14" name="Picture 11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175" y="6300788"/>
              <a:ext cx="9144000" cy="76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19063" y="115888"/>
              <a:ext cx="871537" cy="798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12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223963" y="838200"/>
              <a:ext cx="7920037" cy="36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8" name="Straight Connector 17"/>
            <p:cNvCxnSpPr/>
            <p:nvPr/>
          </p:nvCxnSpPr>
          <p:spPr>
            <a:xfrm rot="5400000">
              <a:off x="709612" y="509588"/>
              <a:ext cx="714375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1545700" y="466503"/>
            <a:ext cx="5332839" cy="508567"/>
          </a:xfrm>
          <a:prstGeom prst="rect">
            <a:avLst/>
          </a:prstGeom>
        </p:spPr>
        <p:txBody>
          <a:bodyPr vert="horz" lIns="76388" tIns="38194" rIns="76388" bIns="38194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7361" lvl="1"/>
            <a:r>
              <a:rPr lang="en-US" sz="2339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</a:rPr>
              <a:t>GLOBAL AEO PROGRAMMES</a:t>
            </a:r>
            <a:endParaRPr lang="id-ID" sz="2339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eorgia" panose="02040502050405020303" pitchFamily="18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415861" y="1327841"/>
            <a:ext cx="6524798" cy="4507344"/>
            <a:chOff x="723900" y="1067156"/>
            <a:chExt cx="7810500" cy="5395510"/>
          </a:xfrm>
        </p:grpSpPr>
        <p:sp>
          <p:nvSpPr>
            <p:cNvPr id="11" name="Rectangle 10"/>
            <p:cNvSpPr/>
            <p:nvPr/>
          </p:nvSpPr>
          <p:spPr>
            <a:xfrm>
              <a:off x="914400" y="1160182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r"/>
              <a:r>
                <a:rPr lang="en-US" sz="1671" dirty="0">
                  <a:latin typeface="Candara" pitchFamily="34" charset="0"/>
                </a:rPr>
                <a:t>Andorra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723900" y="1067156"/>
              <a:ext cx="7696201" cy="5317697"/>
            </a:xfrm>
            <a:prstGeom prst="roundRect">
              <a:avLst>
                <a:gd name="adj" fmla="val 2262"/>
              </a:avLst>
            </a:prstGeom>
            <a:noFill/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id-ID" b="1" dirty="0">
                <a:solidFill>
                  <a:schemeClr val="tx1"/>
                </a:solidFill>
                <a:latin typeface="Calibri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3429000" y="1160182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US" sz="1671" dirty="0" err="1">
                  <a:latin typeface="Candara" pitchFamily="34" charset="0"/>
                </a:rPr>
                <a:t>Hongkong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925065" y="1160182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r>
                <a:rPr lang="en-US" sz="1671" dirty="0">
                  <a:latin typeface="Candara" pitchFamily="34" charset="0"/>
                </a:rPr>
                <a:t>Norway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914400" y="1541182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r"/>
              <a:r>
                <a:rPr lang="en-US" sz="1671" dirty="0">
                  <a:latin typeface="Candara" pitchFamily="34" charset="0"/>
                </a:rPr>
                <a:t>Argentina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3429000" y="1541182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US" sz="1671" dirty="0">
                  <a:latin typeface="Candara" pitchFamily="34" charset="0"/>
                </a:rPr>
                <a:t>India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5925065" y="1541182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r>
                <a:rPr lang="en-US" sz="1671" dirty="0">
                  <a:latin typeface="Candara" pitchFamily="34" charset="0"/>
                </a:rPr>
                <a:t>Panama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914400" y="1943647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r"/>
              <a:r>
                <a:rPr lang="en-US" sz="1671" dirty="0">
                  <a:latin typeface="Candara" pitchFamily="34" charset="0"/>
                </a:rPr>
                <a:t>Bolivia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3429000" y="1943647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US" sz="1671" b="1" dirty="0">
                  <a:latin typeface="Candara" pitchFamily="34" charset="0"/>
                </a:rPr>
                <a:t>Indonesia</a:t>
              </a:r>
              <a:endParaRPr lang="id-ID" sz="1671" b="1" dirty="0">
                <a:latin typeface="Candara" pitchFamily="34" charset="0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5925065" y="1943647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r>
                <a:rPr lang="en-US" sz="1671" dirty="0">
                  <a:latin typeface="Candara" pitchFamily="34" charset="0"/>
                </a:rPr>
                <a:t>Peru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914400" y="2324647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r"/>
              <a:r>
                <a:rPr lang="en-US" sz="1671" dirty="0">
                  <a:latin typeface="Candara" pitchFamily="34" charset="0"/>
                </a:rPr>
                <a:t>Brazil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3429000" y="2324647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US" sz="1671" dirty="0">
                  <a:latin typeface="Candara" pitchFamily="34" charset="0"/>
                </a:rPr>
                <a:t>Israel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5925065" y="2324647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r>
                <a:rPr lang="en-US" sz="1671" dirty="0">
                  <a:latin typeface="Candara" pitchFamily="34" charset="0"/>
                </a:rPr>
                <a:t>Serbia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914400" y="2724757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r"/>
              <a:r>
                <a:rPr lang="en-US" sz="1671" dirty="0">
                  <a:latin typeface="Candara" pitchFamily="34" charset="0"/>
                </a:rPr>
                <a:t>Canada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3429000" y="2724757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US" sz="1671" dirty="0">
                  <a:latin typeface="Candara" pitchFamily="34" charset="0"/>
                </a:rPr>
                <a:t>Jamaica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5925065" y="2724757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r>
                <a:rPr lang="en-US" sz="1671" dirty="0">
                  <a:latin typeface="Candara" pitchFamily="34" charset="0"/>
                </a:rPr>
                <a:t>Singapore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914400" y="3105757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r"/>
              <a:r>
                <a:rPr lang="en-US" sz="1671" dirty="0">
                  <a:latin typeface="Candara" pitchFamily="34" charset="0"/>
                </a:rPr>
                <a:t>China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3429000" y="3105757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US" sz="1671" dirty="0">
                  <a:latin typeface="Candara" pitchFamily="34" charset="0"/>
                </a:rPr>
                <a:t>Japan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5925065" y="3105757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r>
                <a:rPr lang="en-US" sz="1671" dirty="0">
                  <a:latin typeface="Candara" pitchFamily="34" charset="0"/>
                </a:rPr>
                <a:t>Switzerland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914400" y="3508222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r"/>
              <a:r>
                <a:rPr lang="en-US" sz="1671" dirty="0">
                  <a:latin typeface="Candara" pitchFamily="34" charset="0"/>
                </a:rPr>
                <a:t>Colombia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3429000" y="3508222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US" sz="1671" dirty="0">
                  <a:latin typeface="Candara" pitchFamily="34" charset="0"/>
                </a:rPr>
                <a:t>Jordan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5925065" y="3508222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r>
                <a:rPr lang="en-US" sz="1671" dirty="0">
                  <a:latin typeface="Candara" pitchFamily="34" charset="0"/>
                </a:rPr>
                <a:t>Thailand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914400" y="3889222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r"/>
              <a:r>
                <a:rPr lang="en-US" sz="1671" dirty="0">
                  <a:latin typeface="Candara" pitchFamily="34" charset="0"/>
                </a:rPr>
                <a:t>Costa Rica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3429000" y="3889222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US" sz="1671" dirty="0">
                  <a:latin typeface="Candara" pitchFamily="34" charset="0"/>
                </a:rPr>
                <a:t>Kenya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5925065" y="3889222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r>
                <a:rPr lang="en-US" sz="1671" dirty="0">
                  <a:latin typeface="Candara" pitchFamily="34" charset="0"/>
                </a:rPr>
                <a:t>Turkey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914400" y="4284382"/>
              <a:ext cx="2286000" cy="72610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r"/>
              <a:r>
                <a:rPr lang="en-US" sz="1671" dirty="0">
                  <a:latin typeface="Candara" pitchFamily="34" charset="0"/>
                </a:rPr>
                <a:t>Dominican Republic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3429000" y="4284382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US" sz="1671" dirty="0">
                  <a:latin typeface="Candara" pitchFamily="34" charset="0"/>
                </a:rPr>
                <a:t>Korea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5925065" y="4284382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r>
                <a:rPr lang="en-US" sz="1671" dirty="0">
                  <a:latin typeface="Candara" pitchFamily="34" charset="0"/>
                </a:rPr>
                <a:t>Uganda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914400" y="4665382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r"/>
              <a:r>
                <a:rPr lang="en-US" sz="1671" dirty="0">
                  <a:latin typeface="Candara" pitchFamily="34" charset="0"/>
                </a:rPr>
                <a:t>Egypt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3429000" y="4665382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US" sz="1671" dirty="0">
                  <a:latin typeface="Candara" pitchFamily="34" charset="0"/>
                </a:rPr>
                <a:t>Malaysia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5925065" y="4665382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r>
                <a:rPr lang="en-US" sz="1671" dirty="0">
                  <a:latin typeface="Candara" pitchFamily="34" charset="0"/>
                </a:rPr>
                <a:t>Uruguay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914400" y="5067847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r"/>
              <a:r>
                <a:rPr lang="en-US" sz="1671" dirty="0">
                  <a:latin typeface="Candara" pitchFamily="34" charset="0"/>
                </a:rPr>
                <a:t>EU (28)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3429000" y="5067847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US" sz="1671" dirty="0">
                  <a:latin typeface="Candara" pitchFamily="34" charset="0"/>
                </a:rPr>
                <a:t>Mexico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5925065" y="5067847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r>
                <a:rPr lang="en-US" sz="1671" dirty="0">
                  <a:latin typeface="Candara" pitchFamily="34" charset="0"/>
                </a:rPr>
                <a:t>Vietnam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914400" y="5448847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r"/>
              <a:r>
                <a:rPr lang="en-US" sz="1671" dirty="0">
                  <a:latin typeface="Candara" pitchFamily="34" charset="0"/>
                </a:rPr>
                <a:t>Guatemala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>
              <a:off x="3429000" y="5448847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US" sz="1671" dirty="0">
                  <a:latin typeface="Candara" pitchFamily="34" charset="0"/>
                </a:rPr>
                <a:t>Morocco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5925065" y="5448847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r>
                <a:rPr lang="en-US" sz="1671" dirty="0">
                  <a:latin typeface="Candara" pitchFamily="34" charset="0"/>
                </a:rPr>
                <a:t>USA</a:t>
              </a:r>
              <a:endParaRPr lang="id-ID" sz="1671" dirty="0">
                <a:latin typeface="Candara" pitchFamily="34" charset="0"/>
              </a:endParaRP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3429000" y="5848647"/>
              <a:ext cx="2286000" cy="41831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US" sz="1671" dirty="0">
                  <a:latin typeface="Candara" pitchFamily="34" charset="0"/>
                </a:rPr>
                <a:t>New Zealand</a:t>
              </a:r>
              <a:endParaRPr lang="id-ID" sz="1671" dirty="0">
                <a:latin typeface="Candara" pitchFamily="34" charset="0"/>
              </a:endParaRPr>
            </a:p>
          </p:txBody>
        </p:sp>
        <p:pic>
          <p:nvPicPr>
            <p:cNvPr id="55" name="Shape 275"/>
            <p:cNvPicPr preferRelativeResize="0"/>
            <p:nvPr/>
          </p:nvPicPr>
          <p:blipFill>
            <a:blip r:embed="rId6">
              <a:alphaModFix amt="5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Blur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23900" y="1144969"/>
              <a:ext cx="7810500" cy="5317697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56" name="Picture 5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659" y="325296"/>
            <a:ext cx="1097868" cy="818730"/>
          </a:xfrm>
          <a:prstGeom prst="rect">
            <a:avLst/>
          </a:prstGeom>
          <a:effectLst>
            <a:softEdge rad="12700"/>
          </a:effectLst>
        </p:spPr>
      </p:pic>
    </p:spTree>
    <p:extLst>
      <p:ext uri="{BB962C8B-B14F-4D97-AF65-F5344CB8AC3E}">
        <p14:creationId xmlns:p14="http://schemas.microsoft.com/office/powerpoint/2010/main" val="12590265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P7nLPJDZzEinyzqo3RZH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P7nLPJDZzEinyzqo3RZHmA"/>
</p:tagLst>
</file>

<file path=ppt/theme/theme1.xml><?xml version="1.0" encoding="utf-8"?>
<a:theme xmlns:a="http://schemas.openxmlformats.org/drawingml/2006/main" name="Template Presentasi DJBC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 Presentasi DJBC</Template>
  <TotalTime>1734</TotalTime>
  <Words>1086</Words>
  <Application>Microsoft Office PowerPoint</Application>
  <PresentationFormat>On-screen Show (4:3)</PresentationFormat>
  <Paragraphs>368</Paragraphs>
  <Slides>22</Slides>
  <Notes>14</Notes>
  <HiddenSlides>0</HiddenSlides>
  <MMClips>0</MMClips>
  <ScaleCrop>false</ScaleCrop>
  <HeadingPairs>
    <vt:vector size="6" baseType="variant">
      <vt:variant>
        <vt:lpstr>Fonts Used</vt:lpstr>
      </vt:variant>
      <vt:variant>
        <vt:i4>2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44" baseType="lpstr">
      <vt:lpstr>Malgun Gothic</vt:lpstr>
      <vt:lpstr>Malgun Gothic</vt:lpstr>
      <vt:lpstr>ＭＳ Ｐゴシック</vt:lpstr>
      <vt:lpstr>Adobe Song Std L</vt:lpstr>
      <vt:lpstr>Aharoni</vt:lpstr>
      <vt:lpstr>Arabic Typesetting</vt:lpstr>
      <vt:lpstr>Arial</vt:lpstr>
      <vt:lpstr>Arial Black</vt:lpstr>
      <vt:lpstr>Arial Narrow</vt:lpstr>
      <vt:lpstr>Batang</vt:lpstr>
      <vt:lpstr>Berlin Sans FB</vt:lpstr>
      <vt:lpstr>Bookman Old Style</vt:lpstr>
      <vt:lpstr>Calibri</vt:lpstr>
      <vt:lpstr>Candara</vt:lpstr>
      <vt:lpstr>Garamond</vt:lpstr>
      <vt:lpstr>Georgia</vt:lpstr>
      <vt:lpstr>굴림</vt:lpstr>
      <vt:lpstr>Rage Italic</vt:lpstr>
      <vt:lpstr>StarSymbol</vt:lpstr>
      <vt:lpstr>Times New Roman</vt:lpstr>
      <vt:lpstr>Wingdings</vt:lpstr>
      <vt:lpstr>Template Presentasi DJBC</vt:lpstr>
      <vt:lpstr>SOSIALISASI  AUTHORIZED ECONOMIC OPERATOR (OPERATOR EKONOMI BERSERTIFIKAT)</vt:lpstr>
      <vt:lpstr>  DASAR HUKU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EVEL ASIA PASIFIK</vt:lpstr>
      <vt:lpstr> INTANGIBLE BENEFITS</vt:lpstr>
      <vt:lpstr> INTERNAL CONTROL BENEFITS</vt:lpstr>
      <vt:lpstr>AEO BENEFITS UNTUK PENGGUNA JAS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MAIL US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udul Presentasi</dc:title>
  <dc:creator>humas3</dc:creator>
  <cp:lastModifiedBy>Asus</cp:lastModifiedBy>
  <cp:revision>38</cp:revision>
  <dcterms:created xsi:type="dcterms:W3CDTF">2016-01-15T02:34:50Z</dcterms:created>
  <dcterms:modified xsi:type="dcterms:W3CDTF">2017-02-01T10:10:37Z</dcterms:modified>
</cp:coreProperties>
</file>